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wmf" ContentType="image/x-wmf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notesSlides/notesSlide11.xml" ContentType="application/vnd.openxmlformats-officedocument.presentationml.notesSlid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4067" r:id="rId1"/>
  </p:sldMasterIdLst>
  <p:notesMasterIdLst>
    <p:notesMasterId r:id="rId23"/>
  </p:notesMasterIdLst>
  <p:handoutMasterIdLst>
    <p:handoutMasterId r:id="rId24"/>
  </p:handoutMasterIdLst>
  <p:sldIdLst>
    <p:sldId id="257" r:id="rId2"/>
    <p:sldId id="258" r:id="rId3"/>
    <p:sldId id="267" r:id="rId4"/>
    <p:sldId id="268" r:id="rId5"/>
    <p:sldId id="270" r:id="rId6"/>
    <p:sldId id="287" r:id="rId7"/>
    <p:sldId id="290" r:id="rId8"/>
    <p:sldId id="288" r:id="rId9"/>
    <p:sldId id="298" r:id="rId10"/>
    <p:sldId id="285" r:id="rId11"/>
    <p:sldId id="286" r:id="rId12"/>
    <p:sldId id="276" r:id="rId13"/>
    <p:sldId id="281" r:id="rId14"/>
    <p:sldId id="299" r:id="rId15"/>
    <p:sldId id="282" r:id="rId16"/>
    <p:sldId id="283" r:id="rId17"/>
    <p:sldId id="284" r:id="rId18"/>
    <p:sldId id="300" r:id="rId19"/>
    <p:sldId id="269" r:id="rId20"/>
    <p:sldId id="261" r:id="rId21"/>
    <p:sldId id="293" r:id="rId22"/>
  </p:sldIdLst>
  <p:sldSz cx="12192000" cy="6858000"/>
  <p:notesSz cx="6858000" cy="9144000"/>
  <p:custDataLst>
    <p:tags r:id="rId25"/>
  </p:custDataLst>
  <p:defaultTextStyle>
    <a:defPPr>
      <a:defRPr lang="de-DE"/>
    </a:defPPr>
    <a:lvl1pPr marL="0" indent="0" algn="l" defTabSz="914400" rtl="0" eaLnBrk="1" latinLnBrk="0" hangingPunct="1">
      <a:lnSpc>
        <a:spcPct val="100000"/>
      </a:lnSpc>
      <a:spcBef>
        <a:spcPts val="800"/>
      </a:spcBef>
      <a:buFontTx/>
      <a:buNone/>
      <a:defRPr sz="1400" kern="1200">
        <a:solidFill>
          <a:schemeClr val="tx1"/>
        </a:solidFill>
        <a:latin typeface="+mn-lt"/>
        <a:ea typeface="+mn-ea"/>
        <a:cs typeface="+mn-cs"/>
      </a:defRPr>
    </a:lvl1pPr>
    <a:lvl2pPr marL="0" indent="0" algn="l" defTabSz="914400" rtl="0" eaLnBrk="1" latinLnBrk="0" hangingPunct="1">
      <a:lnSpc>
        <a:spcPct val="100000"/>
      </a:lnSpc>
      <a:spcBef>
        <a:spcPts val="800"/>
      </a:spcBef>
      <a:buFontTx/>
      <a:buNone/>
      <a:defRPr sz="1400" b="1" kern="1200">
        <a:solidFill>
          <a:schemeClr val="tx1"/>
        </a:solidFill>
        <a:latin typeface="+mj-lt"/>
        <a:ea typeface="+mn-ea"/>
        <a:cs typeface="+mn-cs"/>
      </a:defRPr>
    </a:lvl2pPr>
    <a:lvl3pPr marL="216000" indent="-216000" algn="l" defTabSz="914400" rtl="0" eaLnBrk="1" latinLnBrk="0" hangingPunct="1">
      <a:lnSpc>
        <a:spcPct val="100000"/>
      </a:lnSpc>
      <a:spcBef>
        <a:spcPts val="800"/>
      </a:spcBef>
      <a:buClr>
        <a:schemeClr val="bg2"/>
      </a:buClr>
      <a:buFont typeface="Wingdings" panose="05000000000000000000" pitchFamily="2" charset="2"/>
      <a:buChar char=""/>
      <a:defRPr sz="1400" kern="1200">
        <a:solidFill>
          <a:schemeClr val="tx1"/>
        </a:solidFill>
        <a:latin typeface="+mn-lt"/>
        <a:ea typeface="+mn-ea"/>
        <a:cs typeface="+mn-cs"/>
      </a:defRPr>
    </a:lvl3pPr>
    <a:lvl4pPr marL="360000" indent="-144000" algn="l" defTabSz="914400" rtl="0" eaLnBrk="1" latinLnBrk="0" hangingPunct="1">
      <a:lnSpc>
        <a:spcPct val="100000"/>
      </a:lnSpc>
      <a:spcBef>
        <a:spcPts val="400"/>
      </a:spcBef>
      <a:buClr>
        <a:schemeClr val="bg2"/>
      </a:buClr>
      <a:buFont typeface="Symbol" panose="05050102010706020507" pitchFamily="18" charset="2"/>
      <a:buChar char="-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360000" indent="-144000" algn="l" defTabSz="914400" rtl="0" eaLnBrk="1" latinLnBrk="0" hangingPunct="1">
      <a:lnSpc>
        <a:spcPct val="100000"/>
      </a:lnSpc>
      <a:spcBef>
        <a:spcPts val="400"/>
      </a:spcBef>
      <a:buClr>
        <a:schemeClr val="bg2"/>
      </a:buClr>
      <a:buFont typeface="Symbol" panose="05050102010706020507" pitchFamily="18" charset="2"/>
      <a:buChar char="-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360000" indent="-144000" algn="l" defTabSz="914400" rtl="0" eaLnBrk="1" latinLnBrk="0" hangingPunct="1">
      <a:lnSpc>
        <a:spcPct val="100000"/>
      </a:lnSpc>
      <a:spcBef>
        <a:spcPts val="400"/>
      </a:spcBef>
      <a:buClr>
        <a:schemeClr val="bg2"/>
      </a:buClr>
      <a:buFont typeface="Symbol" panose="05050102010706020507" pitchFamily="18" charset="2"/>
      <a:buChar char="-"/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360000" indent="-144000" algn="l" defTabSz="914400" rtl="0" eaLnBrk="1" latinLnBrk="0" hangingPunct="1">
      <a:lnSpc>
        <a:spcPct val="100000"/>
      </a:lnSpc>
      <a:spcBef>
        <a:spcPts val="400"/>
      </a:spcBef>
      <a:buClr>
        <a:schemeClr val="bg2"/>
      </a:buClr>
      <a:buFont typeface="Symbol" panose="05050102010706020507" pitchFamily="18" charset="2"/>
      <a:buChar char="-"/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60000" indent="-144000" algn="l" defTabSz="914400" rtl="0" eaLnBrk="1" latinLnBrk="0" hangingPunct="1">
      <a:lnSpc>
        <a:spcPct val="100000"/>
      </a:lnSpc>
      <a:spcBef>
        <a:spcPts val="400"/>
      </a:spcBef>
      <a:buClr>
        <a:schemeClr val="bg2"/>
      </a:buClr>
      <a:buFont typeface="Symbol" panose="05050102010706020507" pitchFamily="18" charset="2"/>
      <a:buChar char="-"/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0000" indent="-144000" algn="l" defTabSz="914400" rtl="0" eaLnBrk="1" latinLnBrk="0" hangingPunct="1">
      <a:lnSpc>
        <a:spcPct val="100000"/>
      </a:lnSpc>
      <a:spcBef>
        <a:spcPts val="400"/>
      </a:spcBef>
      <a:buClr>
        <a:schemeClr val="bg2"/>
      </a:buClr>
      <a:buFont typeface="Symbol" panose="05050102010706020507" pitchFamily="18" charset="2"/>
      <a:buChar char="-"/>
      <a:defRPr sz="12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5DE89"/>
    <a:srgbClr val="779FB5"/>
    <a:srgbClr val="97C139"/>
    <a:srgbClr val="BBD700"/>
    <a:srgbClr val="EDF4D7"/>
    <a:srgbClr val="A5A29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3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FF574968-8E7B-4BD5-88D0-8983A55FECBE}">
  <a:tblStyle styleId="{FF574968-8E7B-4BD5-88D0-8983A55FECBE}" styleName="FAPS Grün">
    <a:wholeTbl>
      <a:tcTxStyle>
        <a:fontRef idx="minor"/>
        <a:schemeClr val="tx1"/>
      </a:tcTxStyle>
      <a:tcStyle>
        <a:tcBdr>
          <a:left>
            <a:ln w="0" cmpd="sng">
              <a:noFill/>
            </a:ln>
          </a:left>
          <a:right>
            <a:ln w="0" cmpd="sng">
              <a:noFill/>
            </a:ln>
          </a:right>
          <a:top>
            <a:ln w="12700" cmpd="sng">
              <a:solidFill>
                <a:schemeClr val="bg2"/>
              </a:solidFill>
            </a:ln>
          </a:top>
          <a:bottom>
            <a:ln w="12700" cmpd="sng">
              <a:solidFill>
                <a:schemeClr val="bg2"/>
              </a:solidFill>
            </a:ln>
          </a:bottom>
          <a:insideH>
            <a:ln w="12700" cmpd="sng">
              <a:solidFill>
                <a:schemeClr val="bg2"/>
              </a:solidFill>
            </a:ln>
          </a:insideH>
          <a:insideV>
            <a:ln w="12700" cmpd="sng">
              <a:solidFill>
                <a:schemeClr val="bg2"/>
              </a:solidFill>
            </a:ln>
          </a:insideV>
        </a:tcBdr>
        <a:fill>
          <a:noFill/>
        </a:fill>
      </a:tcStyle>
    </a:wholeTbl>
    <a:band1H>
      <a:tcStyle>
        <a:tcBdr/>
        <a:fill>
          <a:noFill/>
        </a:fill>
      </a:tcStyle>
    </a:band1H>
    <a:band2H>
      <a:tcStyle>
        <a:tcBdr/>
      </a:tcStyle>
    </a:band2H>
    <a:band1V>
      <a:tcStyle>
        <a:tcBdr/>
        <a:fill>
          <a:noFill/>
        </a:fill>
      </a:tcStyle>
    </a:band1V>
    <a:band2V>
      <a:tcStyle>
        <a:tcBdr/>
      </a:tcStyle>
    </a:band2V>
    <a:lastCol>
      <a:tcTxStyle b="on">
        <a:fontRef idx="minor"/>
        <a:schemeClr val="bg1"/>
      </a:tcTxStyle>
      <a:tcStyle>
        <a:tcBdr>
          <a:left>
            <a:ln w="12700" cmpd="sng">
              <a:solidFill>
                <a:schemeClr val="bg1"/>
              </a:solidFill>
            </a:ln>
          </a:left>
          <a:insideH>
            <a:ln w="12700" cmpd="sng">
              <a:solidFill>
                <a:schemeClr val="bg1"/>
              </a:solidFill>
            </a:ln>
          </a:insideH>
        </a:tcBdr>
        <a:fill>
          <a:solidFill>
            <a:schemeClr val="bg2"/>
          </a:solidFill>
        </a:fill>
      </a:tcStyle>
    </a:lastCol>
    <a:firstCol>
      <a:tcTxStyle b="on">
        <a:fontRef idx="minor"/>
        <a:schemeClr val="bg1"/>
      </a:tcTxStyle>
      <a:tcStyle>
        <a:tcBdr>
          <a:right>
            <a:ln w="12700" cmpd="sng">
              <a:solidFill>
                <a:schemeClr val="bg1"/>
              </a:solidFill>
            </a:ln>
          </a:right>
          <a:insideH>
            <a:ln w="12700" cmpd="sng">
              <a:solidFill>
                <a:schemeClr val="bg1"/>
              </a:solidFill>
            </a:ln>
          </a:insideH>
        </a:tcBdr>
        <a:fill>
          <a:solidFill>
            <a:schemeClr val="bg2"/>
          </a:solidFill>
        </a:fill>
      </a:tcStyle>
    </a:firstCol>
    <a:lastRow>
      <a:tcTxStyle b="on">
        <a:fontRef idx="minor"/>
        <a:schemeClr val="bg1"/>
      </a:tcTxStyle>
      <a:tcStyle>
        <a:tcBdr>
          <a:top>
            <a:ln w="12700" cmpd="sng">
              <a:solidFill>
                <a:schemeClr val="bg1"/>
              </a:solidFill>
            </a:ln>
          </a:top>
          <a:insideV>
            <a:ln w="12700" cmpd="sng">
              <a:solidFill>
                <a:schemeClr val="bg1"/>
              </a:solidFill>
            </a:ln>
          </a:insideV>
        </a:tcBdr>
        <a:fill>
          <a:solidFill>
            <a:schemeClr val="bg2"/>
          </a:solidFill>
        </a:fill>
      </a:tcStyle>
    </a:lastRow>
    <a:firstRow>
      <a:tcTxStyle b="on">
        <a:fontRef idx="minor"/>
        <a:schemeClr val="bg1"/>
      </a:tcTxStyle>
      <a:tcStyle>
        <a:tcBdr>
          <a:bottom>
            <a:ln w="12700" cmpd="sng">
              <a:solidFill>
                <a:schemeClr val="bg1"/>
              </a:solidFill>
            </a:ln>
          </a:bottom>
          <a:insideV>
            <a:ln w="12700" cmpd="sng">
              <a:solidFill>
                <a:schemeClr val="bg1"/>
              </a:solidFill>
            </a:ln>
          </a:insideV>
        </a:tcBdr>
        <a:fill>
          <a:solidFill>
            <a:schemeClr val="bg2"/>
          </a:solidFill>
        </a:fill>
      </a:tcStyle>
    </a:firstRow>
  </a:tblStyle>
  <a:tblStyle styleId="{37BAE8A2-7202-4C22-9C2C-F347EB2FAA6F}" styleName="FAPS Blau">
    <a:wholeTbl>
      <a:tcTxStyle>
        <a:fontRef idx="minor"/>
        <a:schemeClr val="tx1"/>
      </a:tcTxStyle>
      <a:tcStyle>
        <a:tcBdr>
          <a:left>
            <a:ln w="0" cmpd="sng">
              <a:noFill/>
            </a:ln>
          </a:left>
          <a:right>
            <a:ln w="0" cmpd="sng">
              <a:noFill/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noFill/>
        </a:fill>
      </a:tcStyle>
    </a:wholeTbl>
    <a:band1H>
      <a:tcStyle>
        <a:tcBdr/>
        <a:fill>
          <a:noFill/>
        </a:fill>
      </a:tcStyle>
    </a:band1H>
    <a:band2H>
      <a:tcStyle>
        <a:tcBdr/>
      </a:tcStyle>
    </a:band2H>
    <a:band1V>
      <a:tcStyle>
        <a:tcBdr/>
        <a:fill>
          <a:noFill/>
        </a:fill>
      </a:tcStyle>
    </a:band1V>
    <a:band2V>
      <a:tcStyle>
        <a:tcBdr/>
      </a:tcStyle>
    </a:band2V>
    <a:lastCol>
      <a:tcTxStyle b="on">
        <a:fontRef idx="minor"/>
        <a:schemeClr val="bg1"/>
      </a:tcTxStyle>
      <a:tcStyle>
        <a:tcBdr>
          <a:left>
            <a:ln w="12700" cmpd="sng">
              <a:solidFill>
                <a:schemeClr val="bg1"/>
              </a:solidFill>
            </a:ln>
          </a:left>
          <a:insideH>
            <a:ln w="12700" cmpd="sng">
              <a:solidFill>
                <a:schemeClr val="bg1"/>
              </a:solidFill>
            </a:ln>
          </a:insideH>
        </a:tcBdr>
        <a:fill>
          <a:solidFill>
            <a:schemeClr val="accent4"/>
          </a:solidFill>
        </a:fill>
      </a:tcStyle>
    </a:lastCol>
    <a:firstCol>
      <a:tcTxStyle b="on">
        <a:fontRef idx="minor"/>
        <a:schemeClr val="bg1"/>
      </a:tcTxStyle>
      <a:tcStyle>
        <a:tcBdr>
          <a:right>
            <a:ln w="12700" cmpd="sng">
              <a:solidFill>
                <a:schemeClr val="bg1"/>
              </a:solidFill>
            </a:ln>
          </a:right>
          <a:insideH>
            <a:ln w="12700" cmpd="sng">
              <a:solidFill>
                <a:schemeClr val="bg1"/>
              </a:solidFill>
            </a:ln>
          </a:insideH>
        </a:tcBdr>
        <a:fill>
          <a:solidFill>
            <a:schemeClr val="accent4"/>
          </a:solidFill>
        </a:fill>
      </a:tcStyle>
    </a:firstCol>
    <a:lastRow>
      <a:tcTxStyle b="on">
        <a:fontRef idx="minor"/>
        <a:schemeClr val="bg1"/>
      </a:tcTxStyle>
      <a:tcStyle>
        <a:tcBdr>
          <a:top>
            <a:ln w="12700" cmpd="sng">
              <a:solidFill>
                <a:schemeClr val="bg1"/>
              </a:solidFill>
            </a:ln>
          </a:top>
          <a:insideV>
            <a:ln w="12700" cmpd="sng">
              <a:solidFill>
                <a:schemeClr val="bg1"/>
              </a:solidFill>
            </a:ln>
          </a:insideV>
        </a:tcBdr>
        <a:fill>
          <a:solidFill>
            <a:schemeClr val="accent4"/>
          </a:solidFill>
        </a:fill>
      </a:tcStyle>
    </a:lastRow>
    <a:firstRow>
      <a:tcTxStyle b="on">
        <a:fontRef idx="minor"/>
        <a:schemeClr val="bg1"/>
      </a:tcTxStyle>
      <a:tcStyle>
        <a:tcBdr>
          <a:bottom>
            <a:ln w="12700" cmpd="sng">
              <a:solidFill>
                <a:schemeClr val="bg1"/>
              </a:solidFill>
            </a:ln>
          </a:bottom>
          <a:insideV>
            <a:ln w="12700" cmpd="sng">
              <a:solidFill>
                <a:schemeClr val="bg1"/>
              </a:solidFill>
            </a:ln>
          </a:insideV>
        </a:tcBdr>
        <a:fill>
          <a:solidFill>
            <a:schemeClr val="accent4"/>
          </a:solidFill>
        </a:fill>
      </a:tcStyle>
    </a:firstRow>
  </a:tblStyle>
  <a:tblStyle styleId="{EBB0CE9F-D716-4860-AF4F-F15B24E0B071}" styleName="FAPS Gelb">
    <a:wholeTbl>
      <a:tcTxStyle>
        <a:fontRef idx="minor"/>
        <a:schemeClr val="tx1"/>
      </a:tcTxStyle>
      <a:tcStyle>
        <a:tcBdr>
          <a:left>
            <a:ln w="0" cmpd="sng">
              <a:noFill/>
            </a:ln>
          </a:left>
          <a:right>
            <a:ln w="0" cmpd="sng"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noFill/>
        </a:fill>
      </a:tcStyle>
    </a:band1H>
    <a:band2H>
      <a:tcStyle>
        <a:tcBdr/>
      </a:tcStyle>
    </a:band2H>
    <a:band1V>
      <a:tcStyle>
        <a:tcBdr/>
        <a:fill>
          <a:noFill/>
        </a:fill>
      </a:tcStyle>
    </a:band1V>
    <a:band2V>
      <a:tcStyle>
        <a:tcBdr/>
      </a:tcStyle>
    </a:band2V>
    <a:lastCol>
      <a:tcTxStyle b="on">
        <a:fontRef idx="minor"/>
        <a:schemeClr val="bg1"/>
      </a:tcTxStyle>
      <a:tcStyle>
        <a:tcBdr>
          <a:left>
            <a:ln w="12700" cmpd="sng">
              <a:solidFill>
                <a:schemeClr val="bg1"/>
              </a:solidFill>
            </a:ln>
          </a:left>
          <a:insideH>
            <a:ln w="12700" cmpd="sng">
              <a:solidFill>
                <a:schemeClr val="bg1"/>
              </a:solidFill>
            </a:ln>
          </a:insideH>
        </a:tcBdr>
        <a:fill>
          <a:solidFill>
            <a:schemeClr val="accent1"/>
          </a:solidFill>
        </a:fill>
      </a:tcStyle>
    </a:lastCol>
    <a:firstCol>
      <a:tcTxStyle b="on">
        <a:fontRef idx="minor"/>
        <a:schemeClr val="bg1"/>
      </a:tcTxStyle>
      <a:tcStyle>
        <a:tcBdr>
          <a:right>
            <a:ln w="12700" cmpd="sng">
              <a:solidFill>
                <a:schemeClr val="bg1"/>
              </a:solidFill>
            </a:ln>
          </a:right>
          <a:insideH>
            <a:ln w="12700" cmpd="sng">
              <a:solidFill>
                <a:schemeClr val="bg1"/>
              </a:solidFill>
            </a:ln>
          </a:insideH>
        </a:tcBdr>
        <a:fill>
          <a:solidFill>
            <a:schemeClr val="accent1"/>
          </a:solidFill>
        </a:fill>
      </a:tcStyle>
    </a:firstCol>
    <a:lastRow>
      <a:tcTxStyle b="on">
        <a:fontRef idx="minor"/>
        <a:schemeClr val="bg1"/>
      </a:tcTxStyle>
      <a:tcStyle>
        <a:tcBdr>
          <a:top>
            <a:ln w="12700" cmpd="sng">
              <a:solidFill>
                <a:schemeClr val="bg1"/>
              </a:solidFill>
            </a:ln>
          </a:top>
          <a:insideV>
            <a:ln w="12700" cmpd="sng">
              <a:solidFill>
                <a:schemeClr val="bg1"/>
              </a:solidFill>
            </a:ln>
          </a:insideV>
        </a:tcBdr>
        <a:fill>
          <a:solidFill>
            <a:schemeClr val="accent1"/>
          </a:solidFill>
        </a:fill>
      </a:tcStyle>
    </a:lastRow>
    <a:firstRow>
      <a:tcTxStyle b="on">
        <a:fontRef idx="minor"/>
        <a:schemeClr val="bg1"/>
      </a:tcTxStyle>
      <a:tcStyle>
        <a:tcBdr>
          <a:bottom>
            <a:ln w="12700" cmpd="sng">
              <a:solidFill>
                <a:schemeClr val="bg1"/>
              </a:solidFill>
            </a:ln>
          </a:bottom>
          <a:insideV>
            <a:ln w="12700" cmpd="sng">
              <a:solidFill>
                <a:schemeClr val="bg1"/>
              </a:solidFill>
            </a:ln>
          </a:insideV>
        </a:tcBdr>
        <a:fill>
          <a:solidFill>
            <a:schemeClr val="accent1"/>
          </a:solidFill>
        </a:fill>
      </a:tcStyle>
    </a:firstRow>
  </a:tblStyle>
  <a:tblStyle styleId="{26AB2577-4540-4206-9094-D35CD18BC8E0}" styleName="FAPS Orange">
    <a:wholeTbl>
      <a:tcTxStyle>
        <a:fontRef idx="minor"/>
        <a:schemeClr val="tx1"/>
      </a:tcTxStyle>
      <a:tcStyle>
        <a:tcBdr>
          <a:left>
            <a:ln w="0" cmpd="sng">
              <a:noFill/>
            </a:ln>
          </a:left>
          <a:right>
            <a:ln w="0" cmpd="sng"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noFill/>
        </a:fill>
      </a:tcStyle>
    </a:wholeTbl>
    <a:band1H>
      <a:tcStyle>
        <a:tcBdr/>
        <a:fill>
          <a:noFill/>
        </a:fill>
      </a:tcStyle>
    </a:band1H>
    <a:band2H>
      <a:tcStyle>
        <a:tcBdr/>
      </a:tcStyle>
    </a:band2H>
    <a:band1V>
      <a:tcStyle>
        <a:tcBdr/>
        <a:fill>
          <a:noFill/>
        </a:fill>
      </a:tcStyle>
    </a:band1V>
    <a:band2V>
      <a:tcStyle>
        <a:tcBdr/>
      </a:tcStyle>
    </a:band2V>
    <a:lastCol>
      <a:tcTxStyle b="on">
        <a:fontRef idx="minor"/>
        <a:schemeClr val="bg1"/>
      </a:tcTxStyle>
      <a:tcStyle>
        <a:tcBdr>
          <a:left>
            <a:ln w="12700" cmpd="sng">
              <a:solidFill>
                <a:schemeClr val="bg1"/>
              </a:solidFill>
            </a:ln>
          </a:left>
          <a:insideH>
            <a:ln w="12700" cmpd="sng">
              <a:solidFill>
                <a:schemeClr val="bg1"/>
              </a:solidFill>
            </a:ln>
          </a:insideH>
        </a:tcBdr>
        <a:fill>
          <a:solidFill>
            <a:schemeClr val="accent2"/>
          </a:solidFill>
        </a:fill>
      </a:tcStyle>
    </a:lastCol>
    <a:firstCol>
      <a:tcTxStyle b="on">
        <a:fontRef idx="minor"/>
        <a:schemeClr val="bg1"/>
      </a:tcTxStyle>
      <a:tcStyle>
        <a:tcBdr>
          <a:right>
            <a:ln w="12700" cmpd="sng">
              <a:solidFill>
                <a:schemeClr val="bg1"/>
              </a:solidFill>
            </a:ln>
          </a:right>
          <a:insideH>
            <a:ln w="12700" cmpd="sng">
              <a:solidFill>
                <a:schemeClr val="bg1"/>
              </a:solidFill>
            </a:ln>
          </a:insideH>
        </a:tcBdr>
        <a:fill>
          <a:solidFill>
            <a:schemeClr val="accent2"/>
          </a:solidFill>
        </a:fill>
      </a:tcStyle>
    </a:firstCol>
    <a:lastRow>
      <a:tcTxStyle b="on">
        <a:fontRef idx="minor"/>
        <a:schemeClr val="bg1"/>
      </a:tcTxStyle>
      <a:tcStyle>
        <a:tcBdr>
          <a:top>
            <a:ln w="12700" cmpd="sng">
              <a:solidFill>
                <a:schemeClr val="bg1"/>
              </a:solidFill>
            </a:ln>
          </a:top>
          <a:insideV>
            <a:ln w="12700" cmpd="sng">
              <a:solidFill>
                <a:schemeClr val="bg1"/>
              </a:solidFill>
            </a:ln>
          </a:insideV>
        </a:tcBdr>
        <a:fill>
          <a:solidFill>
            <a:schemeClr val="accent2"/>
          </a:solidFill>
        </a:fill>
      </a:tcStyle>
    </a:lastRow>
    <a:firstRow>
      <a:tcTxStyle b="on">
        <a:fontRef idx="minor"/>
        <a:schemeClr val="bg1"/>
      </a:tcTxStyle>
      <a:tcStyle>
        <a:tcBdr>
          <a:bottom>
            <a:ln w="12700" cmpd="sng">
              <a:solidFill>
                <a:schemeClr val="bg1"/>
              </a:solidFill>
            </a:ln>
          </a:bottom>
          <a:insideV>
            <a:ln w="12700" cmpd="sng">
              <a:solidFill>
                <a:schemeClr val="bg1"/>
              </a:solidFill>
            </a:ln>
          </a:insideV>
        </a:tcBdr>
        <a:fill>
          <a:solidFill>
            <a:schemeClr val="accent2"/>
          </a:solidFill>
        </a:fill>
      </a:tcStyle>
    </a:firstRow>
  </a:tblStyle>
  <a:tblStyle styleId="{722F7E24-ECD2-48BB-A2A0-780832591A68}" styleName="FAPS Red">
    <a:wholeTbl>
      <a:tcTxStyle>
        <a:fontRef idx="minor"/>
        <a:schemeClr val="tx1"/>
      </a:tcTxStyle>
      <a:tcStyle>
        <a:tcBdr>
          <a:left>
            <a:ln w="0" cmpd="sng">
              <a:noFill/>
            </a:ln>
          </a:left>
          <a:right>
            <a:ln w="0" cmpd="sng">
              <a:noFill/>
            </a:ln>
          </a:right>
          <a:top>
            <a:ln w="12700" cmpd="sng">
              <a:solidFill>
                <a:srgbClr val="990033"/>
              </a:solidFill>
            </a:ln>
          </a:top>
          <a:bottom>
            <a:ln w="12700" cmpd="sng">
              <a:solidFill>
                <a:srgbClr val="990033"/>
              </a:solidFill>
            </a:ln>
          </a:bottom>
          <a:insideH>
            <a:ln w="12700" cmpd="sng">
              <a:solidFill>
                <a:srgbClr val="990033"/>
              </a:solidFill>
            </a:ln>
          </a:insideH>
          <a:insideV>
            <a:ln w="12700" cmpd="sng">
              <a:solidFill>
                <a:srgbClr val="990033"/>
              </a:solidFill>
            </a:ln>
          </a:insideV>
        </a:tcBdr>
        <a:fill>
          <a:noFill/>
        </a:fill>
      </a:tcStyle>
    </a:wholeTbl>
    <a:band1H>
      <a:tcStyle>
        <a:tcBdr/>
        <a:fill>
          <a:noFill/>
        </a:fill>
      </a:tcStyle>
    </a:band1H>
    <a:band2H>
      <a:tcStyle>
        <a:tcBdr/>
      </a:tcStyle>
    </a:band2H>
    <a:band1V>
      <a:tcStyle>
        <a:tcBdr/>
        <a:fill>
          <a:noFill/>
        </a:fill>
      </a:tcStyle>
    </a:band1V>
    <a:band2V>
      <a:tcStyle>
        <a:tcBdr/>
      </a:tcStyle>
    </a:band2V>
    <a:lastCol>
      <a:tcTxStyle b="on">
        <a:fontRef idx="minor"/>
        <a:schemeClr val="bg1"/>
      </a:tcTxStyle>
      <a:tcStyle>
        <a:tcBdr>
          <a:left>
            <a:ln w="12700" cmpd="sng">
              <a:solidFill>
                <a:schemeClr val="bg1"/>
              </a:solidFill>
            </a:ln>
          </a:left>
          <a:insideH>
            <a:ln w="12700" cmpd="sng">
              <a:solidFill>
                <a:schemeClr val="bg1"/>
              </a:solidFill>
            </a:ln>
          </a:insideH>
        </a:tcBdr>
        <a:fill>
          <a:solidFill>
            <a:srgbClr val="990033"/>
          </a:solidFill>
        </a:fill>
      </a:tcStyle>
    </a:lastCol>
    <a:firstCol>
      <a:tcTxStyle b="on">
        <a:fontRef idx="minor"/>
        <a:schemeClr val="bg1"/>
      </a:tcTxStyle>
      <a:tcStyle>
        <a:tcBdr>
          <a:right>
            <a:ln w="12700" cmpd="sng">
              <a:solidFill>
                <a:schemeClr val="bg1"/>
              </a:solidFill>
            </a:ln>
          </a:right>
          <a:insideH>
            <a:ln w="12700" cmpd="sng">
              <a:solidFill>
                <a:schemeClr val="bg1"/>
              </a:solidFill>
            </a:ln>
          </a:insideH>
        </a:tcBdr>
        <a:fill>
          <a:solidFill>
            <a:srgbClr val="990033"/>
          </a:solidFill>
        </a:fill>
      </a:tcStyle>
    </a:firstCol>
    <a:lastRow>
      <a:tcTxStyle b="on">
        <a:fontRef idx="minor"/>
        <a:schemeClr val="bg1"/>
      </a:tcTxStyle>
      <a:tcStyle>
        <a:tcBdr>
          <a:top>
            <a:ln w="12700" cmpd="sng">
              <a:solidFill>
                <a:schemeClr val="bg1"/>
              </a:solidFill>
            </a:ln>
          </a:top>
          <a:insideV>
            <a:ln w="12700" cmpd="sng">
              <a:solidFill>
                <a:schemeClr val="bg1"/>
              </a:solidFill>
            </a:ln>
          </a:insideV>
        </a:tcBdr>
        <a:fill>
          <a:solidFill>
            <a:srgbClr val="990033"/>
          </a:solidFill>
        </a:fill>
      </a:tcStyle>
    </a:lastRow>
    <a:firstRow>
      <a:tcTxStyle b="on">
        <a:fontRef idx="minor"/>
        <a:schemeClr val="bg1"/>
      </a:tcTxStyle>
      <a:tcStyle>
        <a:tcBdr>
          <a:bottom>
            <a:ln w="12700" cmpd="sng">
              <a:solidFill>
                <a:schemeClr val="bg1"/>
              </a:solidFill>
            </a:ln>
          </a:bottom>
          <a:insideV>
            <a:ln w="12700" cmpd="sng">
              <a:solidFill>
                <a:schemeClr val="bg1"/>
              </a:solidFill>
            </a:ln>
          </a:insideV>
        </a:tcBdr>
        <a:fill>
          <a:solidFill>
            <a:srgbClr val="990033"/>
          </a:solidFill>
        </a:fill>
      </a:tcStyle>
    </a:firstRow>
  </a:tblStyle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Keine Formatvorlage, kein Ras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995" autoAdjust="0"/>
    <p:restoredTop sz="94648" autoAdjust="0"/>
  </p:normalViewPr>
  <p:slideViewPr>
    <p:cSldViewPr showGuides="1">
      <p:cViewPr varScale="1">
        <p:scale>
          <a:sx n="78" d="100"/>
          <a:sy n="78" d="100"/>
        </p:scale>
        <p:origin x="878" y="62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notesViewPr>
    <p:cSldViewPr showGuides="1">
      <p:cViewPr varScale="1">
        <p:scale>
          <a:sx n="97" d="100"/>
          <a:sy n="97" d="100"/>
        </p:scale>
        <p:origin x="2682" y="84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ags" Target="tags/tag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handoutMaster" Target="handoutMasters/handoutMaster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notesMaster" Target="notesMasters/notesMaster1.xml"/><Relationship Id="rId28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Mappe1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oleObject" Target="Mappe1" TargetMode="External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oleObject" Target="Mappe1" TargetMode="External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oleObject" Target="Mappe1" TargetMode="External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6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de-DE" sz="1600" baseline="0"/>
              <a:t>Preliminary Trials - Success Rate</a:t>
            </a:r>
          </a:p>
        </c:rich>
      </c:tx>
      <c:layout>
        <c:manualLayout>
          <c:xMode val="edge"/>
          <c:yMode val="edge"/>
          <c:x val="0.20305382735251643"/>
          <c:y val="1.6900231413404944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1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de-DE"/>
        </a:p>
      </c:txPr>
    </c:title>
    <c:autoTitleDeleted val="0"/>
    <c:plotArea>
      <c:layout>
        <c:manualLayout>
          <c:layoutTarget val="inner"/>
          <c:xMode val="edge"/>
          <c:yMode val="edge"/>
          <c:x val="0.10117566974667598"/>
          <c:y val="0.20026774224884858"/>
          <c:w val="0.86594191982435098"/>
          <c:h val="0.69954881705033745"/>
        </c:manualLayout>
      </c:layout>
      <c:barChart>
        <c:barDir val="col"/>
        <c:grouping val="clustered"/>
        <c:varyColors val="0"/>
        <c:ser>
          <c:idx val="0"/>
          <c:order val="0"/>
          <c:spPr>
            <a:gradFill rotWithShape="1">
              <a:gsLst>
                <a:gs pos="0">
                  <a:schemeClr val="accent1">
                    <a:satMod val="103000"/>
                    <a:lumMod val="102000"/>
                    <a:tint val="94000"/>
                  </a:schemeClr>
                </a:gs>
                <a:gs pos="50000">
                  <a:schemeClr val="accent1">
                    <a:satMod val="110000"/>
                    <a:lumMod val="100000"/>
                    <a:shade val="100000"/>
                  </a:schemeClr>
                </a:gs>
                <a:gs pos="100000">
                  <a:schemeClr val="accent1">
                    <a:lumMod val="99000"/>
                    <a:satMod val="120000"/>
                    <a:shade val="78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</c:spPr>
          <c:invertIfNegative val="0"/>
          <c:dPt>
            <c:idx val="0"/>
            <c:invertIfNegative val="0"/>
            <c:bubble3D val="0"/>
            <c:spPr>
              <a:solidFill>
                <a:schemeClr val="tx2"/>
              </a:solidFill>
              <a:ln>
                <a:noFill/>
              </a:ln>
              <a:effectLst>
                <a:outerShdw blurRad="57150" dist="19050" dir="5400000" algn="ctr" rotWithShape="0">
                  <a:srgbClr val="000000">
                    <a:alpha val="63000"/>
                  </a:srgb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1-AC95-470F-9BF0-0BFA151C1D3C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1">
                  <a:lumMod val="75000"/>
                </a:schemeClr>
              </a:solidFill>
              <a:ln>
                <a:noFill/>
              </a:ln>
              <a:effectLst>
                <a:outerShdw blurRad="57150" dist="19050" dir="5400000" algn="ctr" rotWithShape="0">
                  <a:srgbClr val="000000">
                    <a:alpha val="63000"/>
                  </a:srgb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3-AC95-470F-9BF0-0BFA151C1D3C}"/>
              </c:ext>
            </c:extLst>
          </c:dPt>
          <c:cat>
            <c:strRef>
              <c:f>Tabelle1!$E$2:$G$2</c:f>
              <c:strCache>
                <c:ptCount val="3"/>
                <c:pt idx="0">
                  <c:v>Stator A</c:v>
                </c:pt>
                <c:pt idx="1">
                  <c:v>Stator B</c:v>
                </c:pt>
                <c:pt idx="2">
                  <c:v>Stator C (N/A)</c:v>
                </c:pt>
              </c:strCache>
            </c:strRef>
          </c:cat>
          <c:val>
            <c:numRef>
              <c:f>Tabelle1!$E$3:$G$3</c:f>
              <c:numCache>
                <c:formatCode>0%</c:formatCode>
                <c:ptCount val="3"/>
                <c:pt idx="0">
                  <c:v>0.8</c:v>
                </c:pt>
                <c:pt idx="1">
                  <c:v>0.7</c:v>
                </c:pt>
                <c:pt idx="2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AC95-470F-9BF0-0BFA151C1D3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overlap val="-24"/>
        <c:axId val="479105520"/>
        <c:axId val="479106768"/>
      </c:barChart>
      <c:catAx>
        <c:axId val="47910552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12700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479106768"/>
        <c:crosses val="autoZero"/>
        <c:auto val="1"/>
        <c:lblAlgn val="ctr"/>
        <c:lblOffset val="100"/>
        <c:noMultiLvlLbl val="0"/>
      </c:catAx>
      <c:valAx>
        <c:axId val="479106768"/>
        <c:scaling>
          <c:orientation val="minMax"/>
          <c:max val="1"/>
          <c:min val="0.60000000000000009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47910552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/>
      </a:pPr>
      <a:endParaRPr lang="de-DE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6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de-DE" sz="1600" baseline="0"/>
              <a:t>Optimized Trials - Success Rate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1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de-DE"/>
        </a:p>
      </c:txPr>
    </c:title>
    <c:autoTitleDeleted val="0"/>
    <c:plotArea>
      <c:layout>
        <c:manualLayout>
          <c:layoutTarget val="inner"/>
          <c:xMode val="edge"/>
          <c:yMode val="edge"/>
          <c:x val="0.10659579491167648"/>
          <c:y val="0.20755301262834658"/>
          <c:w val="0.85876023695779835"/>
          <c:h val="0.70900716130528041"/>
        </c:manualLayout>
      </c:layout>
      <c:barChart>
        <c:barDir val="col"/>
        <c:grouping val="clustered"/>
        <c:varyColors val="0"/>
        <c:ser>
          <c:idx val="0"/>
          <c:order val="0"/>
          <c:spPr>
            <a:gradFill rotWithShape="1">
              <a:gsLst>
                <a:gs pos="0">
                  <a:schemeClr val="accent1">
                    <a:satMod val="103000"/>
                    <a:lumMod val="102000"/>
                    <a:tint val="94000"/>
                  </a:schemeClr>
                </a:gs>
                <a:gs pos="50000">
                  <a:schemeClr val="accent1">
                    <a:satMod val="110000"/>
                    <a:lumMod val="100000"/>
                    <a:shade val="100000"/>
                  </a:schemeClr>
                </a:gs>
                <a:gs pos="100000">
                  <a:schemeClr val="accent1">
                    <a:lumMod val="99000"/>
                    <a:satMod val="120000"/>
                    <a:shade val="78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</c:spPr>
          <c:invertIfNegative val="0"/>
          <c:dPt>
            <c:idx val="0"/>
            <c:invertIfNegative val="0"/>
            <c:bubble3D val="0"/>
            <c:spPr>
              <a:solidFill>
                <a:schemeClr val="accent1">
                  <a:lumMod val="50000"/>
                </a:schemeClr>
              </a:solidFill>
              <a:ln>
                <a:noFill/>
              </a:ln>
              <a:effectLst>
                <a:outerShdw blurRad="57150" dist="19050" dir="5400000" algn="ctr" rotWithShape="0">
                  <a:srgbClr val="000000">
                    <a:alpha val="63000"/>
                  </a:srgb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1-B34C-4FF7-9A18-5CF6B5123D4B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1">
                  <a:lumMod val="75000"/>
                </a:schemeClr>
              </a:solidFill>
              <a:ln>
                <a:noFill/>
              </a:ln>
              <a:effectLst>
                <a:outerShdw blurRad="57150" dist="19050" dir="5400000" algn="ctr" rotWithShape="0">
                  <a:srgbClr val="000000">
                    <a:alpha val="63000"/>
                  </a:srgb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3-B34C-4FF7-9A18-5CF6B5123D4B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  <a:effectLst>
                <a:outerShdw blurRad="57150" dist="19050" dir="5400000" algn="ctr" rotWithShape="0">
                  <a:srgbClr val="000000">
                    <a:alpha val="63000"/>
                  </a:srgb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4-5B38-4EF9-80A7-344590ED3D7A}"/>
              </c:ext>
            </c:extLst>
          </c:dPt>
          <c:cat>
            <c:strRef>
              <c:f>Tabelle1!$A$2:$C$2</c:f>
              <c:strCache>
                <c:ptCount val="3"/>
                <c:pt idx="0">
                  <c:v>Stator A</c:v>
                </c:pt>
                <c:pt idx="1">
                  <c:v>Stator B</c:v>
                </c:pt>
                <c:pt idx="2">
                  <c:v>Stator C</c:v>
                </c:pt>
              </c:strCache>
            </c:strRef>
          </c:cat>
          <c:val>
            <c:numRef>
              <c:f>Tabelle1!$A$3:$C$3</c:f>
              <c:numCache>
                <c:formatCode>0%</c:formatCode>
                <c:ptCount val="3"/>
                <c:pt idx="0">
                  <c:v>0.97</c:v>
                </c:pt>
                <c:pt idx="1">
                  <c:v>0.97</c:v>
                </c:pt>
                <c:pt idx="2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B34C-4FF7-9A18-5CF6B5123D4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overlap val="-24"/>
        <c:axId val="887740496"/>
        <c:axId val="887740912"/>
      </c:barChart>
      <c:catAx>
        <c:axId val="88774049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12700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887740912"/>
        <c:crosses val="autoZero"/>
        <c:auto val="1"/>
        <c:lblAlgn val="ctr"/>
        <c:lblOffset val="100"/>
        <c:noMultiLvlLbl val="0"/>
      </c:catAx>
      <c:valAx>
        <c:axId val="887740912"/>
        <c:scaling>
          <c:orientation val="minMax"/>
          <c:max val="1"/>
          <c:min val="0.9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88774049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/>
      </a:pPr>
      <a:endParaRPr lang="de-DE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6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de-DE" sz="1600" baseline="0" dirty="0"/>
              <a:t>Stator A - Preliminary Trials</a:t>
            </a:r>
          </a:p>
        </c:rich>
      </c:tx>
      <c:layout>
        <c:manualLayout>
          <c:xMode val="edge"/>
          <c:yMode val="edge"/>
          <c:x val="0.24923962186600904"/>
          <c:y val="1.3731548232063165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1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de-DE"/>
        </a:p>
      </c:txPr>
    </c:title>
    <c:autoTitleDeleted val="0"/>
    <c:plotArea>
      <c:layout/>
      <c:pieChart>
        <c:varyColors val="1"/>
        <c:ser>
          <c:idx val="0"/>
          <c:order val="0"/>
          <c:spPr>
            <a:solidFill>
              <a:schemeClr val="accent1">
                <a:lumMod val="50000"/>
              </a:schemeClr>
            </a:solidFill>
          </c:spPr>
          <c:dPt>
            <c:idx val="0"/>
            <c:bubble3D val="0"/>
            <c:spPr>
              <a:solidFill>
                <a:schemeClr val="accent1">
                  <a:lumMod val="50000"/>
                </a:schemeClr>
              </a:solidFill>
              <a:ln>
                <a:noFill/>
              </a:ln>
              <a:effectLst>
                <a:outerShdw blurRad="57150" dist="19050" dir="5400000" algn="ctr" rotWithShape="0">
                  <a:srgbClr val="000000">
                    <a:alpha val="63000"/>
                  </a:srgb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1-3F73-41AF-AA70-923C468D36EB}"/>
              </c:ext>
            </c:extLst>
          </c:dPt>
          <c:dPt>
            <c:idx val="1"/>
            <c:bubble3D val="0"/>
            <c:spPr>
              <a:solidFill>
                <a:schemeClr val="tx2">
                  <a:lumMod val="60000"/>
                  <a:lumOff val="40000"/>
                </a:schemeClr>
              </a:solidFill>
              <a:ln>
                <a:noFill/>
              </a:ln>
              <a:effectLst>
                <a:outerShdw blurRad="57150" dist="19050" dir="5400000" algn="ctr" rotWithShape="0">
                  <a:srgbClr val="000000">
                    <a:alpha val="63000"/>
                  </a:srgb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3-3F73-41AF-AA70-923C468D36EB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showLegendKey val="0"/>
            <c:showVal val="0"/>
            <c:showCatName val="0"/>
            <c:showSerName val="0"/>
            <c:showPercent val="1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Tabelle1!$J$2:$K$2</c:f>
              <c:strCache>
                <c:ptCount val="2"/>
                <c:pt idx="0">
                  <c:v>Slot liner pulled back with the funnel</c:v>
                </c:pt>
                <c:pt idx="1">
                  <c:v>Slot liner misplacement</c:v>
                </c:pt>
              </c:strCache>
            </c:strRef>
          </c:cat>
          <c:val>
            <c:numRef>
              <c:f>Tabelle1!$J$3:$K$3</c:f>
              <c:numCache>
                <c:formatCode>0%</c:formatCode>
                <c:ptCount val="2"/>
                <c:pt idx="0">
                  <c:v>0.75</c:v>
                </c:pt>
                <c:pt idx="1">
                  <c:v>0.2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3F73-41AF-AA70-923C468D36EB}"/>
            </c:ext>
          </c:extLst>
        </c:ser>
        <c:dLbls>
          <c:showLegendKey val="0"/>
          <c:showVal val="0"/>
          <c:showCatName val="0"/>
          <c:showSerName val="0"/>
          <c:showPercent val="1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612836296202802"/>
          <c:y val="0.20648340973953477"/>
          <c:w val="0.36250279134343721"/>
          <c:h val="0.78948397625489064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de-DE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/>
      </a:pPr>
      <a:endParaRPr lang="de-DE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6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de-DE" sz="1600" baseline="0"/>
              <a:t>Stator B - Preliminary Trials</a:t>
            </a:r>
          </a:p>
        </c:rich>
      </c:tx>
      <c:layout>
        <c:manualLayout>
          <c:xMode val="edge"/>
          <c:yMode val="edge"/>
          <c:x val="0.17180873581096354"/>
          <c:y val="0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1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de-DE"/>
        </a:p>
      </c:txPr>
    </c:title>
    <c:autoTitleDeleted val="0"/>
    <c:plotArea>
      <c:layout>
        <c:manualLayout>
          <c:layoutTarget val="inner"/>
          <c:xMode val="edge"/>
          <c:yMode val="edge"/>
          <c:x val="8.0877634911313695E-2"/>
          <c:y val="0.19473999885898563"/>
          <c:w val="0.49879831946110298"/>
          <c:h val="0.66057074739443367"/>
        </c:manualLayout>
      </c:layout>
      <c:pieChart>
        <c:varyColors val="1"/>
        <c:ser>
          <c:idx val="0"/>
          <c:order val="0"/>
          <c:dPt>
            <c:idx val="0"/>
            <c:bubble3D val="0"/>
            <c:spPr>
              <a:solidFill>
                <a:schemeClr val="bg2">
                  <a:lumMod val="75000"/>
                </a:schemeClr>
              </a:solidFill>
              <a:ln>
                <a:noFill/>
              </a:ln>
              <a:effectLst>
                <a:outerShdw blurRad="57150" dist="19050" dir="5400000" algn="ctr" rotWithShape="0">
                  <a:srgbClr val="000000">
                    <a:alpha val="63000"/>
                  </a:srgb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1-A870-49EC-B942-1B9CE976F693}"/>
              </c:ext>
            </c:extLst>
          </c:dPt>
          <c:dPt>
            <c:idx val="1"/>
            <c:bubble3D val="0"/>
            <c:spPr>
              <a:solidFill>
                <a:schemeClr val="tx2">
                  <a:lumMod val="60000"/>
                  <a:lumOff val="40000"/>
                </a:schemeClr>
              </a:solidFill>
              <a:ln>
                <a:noFill/>
              </a:ln>
              <a:effectLst>
                <a:outerShdw blurRad="57150" dist="19050" dir="5400000" algn="ctr" rotWithShape="0">
                  <a:srgbClr val="000000">
                    <a:alpha val="63000"/>
                  </a:srgb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3-A870-49EC-B942-1B9CE976F693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showLegendKey val="0"/>
            <c:showVal val="0"/>
            <c:showCatName val="0"/>
            <c:showSerName val="0"/>
            <c:showPercent val="1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Tabelle1!$N$2:$O$2</c:f>
              <c:strCache>
                <c:ptCount val="2"/>
                <c:pt idx="0">
                  <c:v>Poor Slot liner profile</c:v>
                </c:pt>
                <c:pt idx="1">
                  <c:v>Funnel Misalignment</c:v>
                </c:pt>
              </c:strCache>
            </c:strRef>
          </c:cat>
          <c:val>
            <c:numRef>
              <c:f>Tabelle1!$N$3:$O$3</c:f>
              <c:numCache>
                <c:formatCode>0%</c:formatCode>
                <c:ptCount val="2"/>
                <c:pt idx="0">
                  <c:v>0.9</c:v>
                </c:pt>
                <c:pt idx="1">
                  <c:v>0.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A870-49EC-B942-1B9CE976F693}"/>
            </c:ext>
          </c:extLst>
        </c:ser>
        <c:dLbls>
          <c:showLegendKey val="0"/>
          <c:showVal val="0"/>
          <c:showCatName val="0"/>
          <c:showSerName val="0"/>
          <c:showPercent val="1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61940316018526675"/>
          <c:y val="0.41302355293856235"/>
          <c:w val="0.36235174061119646"/>
          <c:h val="0.28918858865531455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de-DE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 sz="1100" baseline="0"/>
      </a:pPr>
      <a:endParaRPr lang="de-DE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3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3"/>
    <cs:fontRef idx="minor">
      <a:schemeClr val="lt1"/>
    </cs:fontRef>
  </cs:dataPoint>
  <cs:dataPoint3D>
    <cs:lnRef idx="0"/>
    <cs:fillRef idx="3">
      <cs:styleClr val="auto"/>
    </cs:fillRef>
    <cs:effectRef idx="3"/>
    <cs:fontRef idx="minor">
      <a:schemeClr val="lt1"/>
    </cs:fontRef>
  </cs:dataPoint3D>
  <cs:dataPointLine>
    <cs:lnRef idx="0">
      <cs:styleClr val="auto"/>
    </cs:lnRef>
    <cs:fillRef idx="3"/>
    <cs:effectRef idx="3"/>
    <cs:fontRef idx="minor">
      <a:schemeClr val="lt1"/>
    </cs:fontRef>
    <cs:spPr>
      <a:ln w="349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3">
      <cs:styleClr val="auto"/>
    </cs:fillRef>
    <cs:effectRef idx="3"/>
    <cs:fontRef idx="minor">
      <a:schemeClr val="lt1"/>
    </cs:fontRef>
    <cs:spPr>
      <a:ln w="9525">
        <a:solidFill>
          <a:schemeClr val="phClr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3"/>
    <cs:fontRef idx="minor">
      <a:schemeClr val="lt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lt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>
    <cs:lnRef idx="0"/>
    <cs:fillRef idx="0"/>
    <cs:effectRef idx="0"/>
    <cs:fontRef idx="minor">
      <a:schemeClr val="lt1"/>
    </cs:fontRef>
  </cs:plotArea>
  <cs:plotArea3D>
    <cs:lnRef idx="0"/>
    <cs:fillRef idx="0"/>
    <cs:effectRef idx="0"/>
    <cs:fontRef idx="minor">
      <a:schemeClr val="lt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600" b="1" kern="1200" baseline="0"/>
  </cs:title>
  <cs:trendline>
    <cs:lnRef idx="0">
      <cs:styleClr val="auto"/>
    </cs:lnRef>
    <cs:fillRef idx="0"/>
    <cs:effectRef idx="0"/>
    <cs:fontRef idx="minor">
      <a:schemeClr val="lt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lt1"/>
    </cs:fontRef>
  </cs:wall>
</cs:chartStyle>
</file>

<file path=ppt/charts/style2.xml><?xml version="1.0" encoding="utf-8"?>
<cs:chartStyle xmlns:cs="http://schemas.microsoft.com/office/drawing/2012/chartStyle" xmlns:a="http://schemas.openxmlformats.org/drawingml/2006/main" id="3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3"/>
    <cs:fontRef idx="minor">
      <a:schemeClr val="lt1"/>
    </cs:fontRef>
  </cs:dataPoint>
  <cs:dataPoint3D>
    <cs:lnRef idx="0"/>
    <cs:fillRef idx="3">
      <cs:styleClr val="auto"/>
    </cs:fillRef>
    <cs:effectRef idx="3"/>
    <cs:fontRef idx="minor">
      <a:schemeClr val="lt1"/>
    </cs:fontRef>
  </cs:dataPoint3D>
  <cs:dataPointLine>
    <cs:lnRef idx="0">
      <cs:styleClr val="auto"/>
    </cs:lnRef>
    <cs:fillRef idx="3"/>
    <cs:effectRef idx="3"/>
    <cs:fontRef idx="minor">
      <a:schemeClr val="lt1"/>
    </cs:fontRef>
    <cs:spPr>
      <a:ln w="349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3">
      <cs:styleClr val="auto"/>
    </cs:fillRef>
    <cs:effectRef idx="3"/>
    <cs:fontRef idx="minor">
      <a:schemeClr val="lt1"/>
    </cs:fontRef>
    <cs:spPr>
      <a:ln w="9525">
        <a:solidFill>
          <a:schemeClr val="phClr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3"/>
    <cs:fontRef idx="minor">
      <a:schemeClr val="lt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lt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>
    <cs:lnRef idx="0"/>
    <cs:fillRef idx="0"/>
    <cs:effectRef idx="0"/>
    <cs:fontRef idx="minor">
      <a:schemeClr val="lt1"/>
    </cs:fontRef>
  </cs:plotArea>
  <cs:plotArea3D>
    <cs:lnRef idx="0"/>
    <cs:fillRef idx="0"/>
    <cs:effectRef idx="0"/>
    <cs:fontRef idx="minor">
      <a:schemeClr val="lt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600" b="1" kern="1200" baseline="0"/>
  </cs:title>
  <cs:trendline>
    <cs:lnRef idx="0">
      <cs:styleClr val="auto"/>
    </cs:lnRef>
    <cs:fillRef idx="0"/>
    <cs:effectRef idx="0"/>
    <cs:fontRef idx="minor">
      <a:schemeClr val="lt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lt1"/>
    </cs:fontRef>
  </cs:wall>
</cs:chartStyle>
</file>

<file path=ppt/charts/style3.xml><?xml version="1.0" encoding="utf-8"?>
<cs:chartStyle xmlns:cs="http://schemas.microsoft.com/office/drawing/2012/chartStyle" xmlns:a="http://schemas.openxmlformats.org/drawingml/2006/main" id="344">
  <cs:axisTitle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3"/>
    <cs:fontRef idx="minor">
      <a:schemeClr val="tx1"/>
    </cs:fontRef>
  </cs:dataPoint>
  <cs:dataPoint3D>
    <cs:lnRef idx="0"/>
    <cs:fillRef idx="3">
      <cs:styleClr val="auto"/>
    </cs:fillRef>
    <cs:effectRef idx="3"/>
    <cs:fontRef idx="minor">
      <a:schemeClr val="tx1"/>
    </cs:fontRef>
  </cs:dataPoint3D>
  <cs:dataPointLine>
    <cs:lnRef idx="0">
      <cs:styleClr val="auto"/>
    </cs:lnRef>
    <cs:fillRef idx="3"/>
    <cs:effectRef idx="3"/>
    <cs:fontRef idx="minor">
      <a:schemeClr val="tx1"/>
    </cs:fontRef>
    <cs:spPr>
      <a:ln w="349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3">
      <cs:styleClr val="auto"/>
    </cs:fillRef>
    <cs:effectRef idx="3"/>
    <cs:fontRef idx="minor">
      <a:schemeClr val="tx1"/>
    </cs:fontRef>
    <cs:spPr>
      <a:ln w="9525">
        <a:solidFill>
          <a:schemeClr val="phClr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3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lt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>
    <cs:lnRef idx="0"/>
    <cs:fillRef idx="0"/>
    <cs:effectRef idx="0"/>
    <cs:fontRef idx="minor">
      <a:schemeClr val="lt1"/>
    </cs:fontRef>
  </cs:plotArea>
  <cs:plotArea3D>
    <cs:lnRef idx="0"/>
    <cs:fillRef idx="0"/>
    <cs:effectRef idx="0"/>
    <cs:fontRef idx="minor">
      <a:schemeClr val="lt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600" b="1" kern="1200" baseline="0"/>
  </cs:title>
  <cs:trendline>
    <cs:lnRef idx="0">
      <cs:styleClr val="auto"/>
    </cs:lnRef>
    <cs:fillRef idx="0"/>
    <cs:effectRef idx="0"/>
    <cs:fontRef idx="minor">
      <a:schemeClr val="lt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lt1"/>
    </cs:fontRef>
  </cs:wall>
</cs:chartStyle>
</file>

<file path=ppt/charts/style4.xml><?xml version="1.0" encoding="utf-8"?>
<cs:chartStyle xmlns:cs="http://schemas.microsoft.com/office/drawing/2012/chartStyle" xmlns:a="http://schemas.openxmlformats.org/drawingml/2006/main" id="344">
  <cs:axisTitle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3"/>
    <cs:fontRef idx="minor">
      <a:schemeClr val="tx1"/>
    </cs:fontRef>
  </cs:dataPoint>
  <cs:dataPoint3D>
    <cs:lnRef idx="0"/>
    <cs:fillRef idx="3">
      <cs:styleClr val="auto"/>
    </cs:fillRef>
    <cs:effectRef idx="3"/>
    <cs:fontRef idx="minor">
      <a:schemeClr val="tx1"/>
    </cs:fontRef>
  </cs:dataPoint3D>
  <cs:dataPointLine>
    <cs:lnRef idx="0">
      <cs:styleClr val="auto"/>
    </cs:lnRef>
    <cs:fillRef idx="3"/>
    <cs:effectRef idx="3"/>
    <cs:fontRef idx="minor">
      <a:schemeClr val="tx1"/>
    </cs:fontRef>
    <cs:spPr>
      <a:ln w="349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3">
      <cs:styleClr val="auto"/>
    </cs:fillRef>
    <cs:effectRef idx="3"/>
    <cs:fontRef idx="minor">
      <a:schemeClr val="tx1"/>
    </cs:fontRef>
    <cs:spPr>
      <a:ln w="9525">
        <a:solidFill>
          <a:schemeClr val="phClr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3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lt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>
    <cs:lnRef idx="0"/>
    <cs:fillRef idx="0"/>
    <cs:effectRef idx="0"/>
    <cs:fontRef idx="minor">
      <a:schemeClr val="lt1"/>
    </cs:fontRef>
  </cs:plotArea>
  <cs:plotArea3D>
    <cs:lnRef idx="0"/>
    <cs:fillRef idx="0"/>
    <cs:effectRef idx="0"/>
    <cs:fontRef idx="minor">
      <a:schemeClr val="lt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600" b="1" kern="1200" baseline="0"/>
  </cs:title>
  <cs:trendline>
    <cs:lnRef idx="0">
      <cs:styleClr val="auto"/>
    </cs:lnRef>
    <cs:fillRef idx="0"/>
    <cs:effectRef idx="0"/>
    <cs:fontRef idx="minor">
      <a:schemeClr val="lt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lt1"/>
    </cs:fontRef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5767376-0B33-4217-AE56-56D9643C06F1}" type="datetimeFigureOut">
              <a:rPr lang="de-DE" smtClean="0"/>
              <a:t>12.11.2025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864EA86-25C6-4F86-9E26-3EA69B71F19D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1A59FC5-228A-47D0-AD07-EE122BAE1BE9}" type="datetimeFigureOut">
              <a:rPr lang="de-DE" smtClean="0"/>
              <a:t>12.11.2025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ED1C4DF-6CA6-480F-9C53-A2D3867D0D7B}" type="slidenum">
              <a:rPr lang="de-DE" smtClean="0"/>
              <a:t>‹#›</a:t>
            </a:fld>
            <a:endParaRPr lang="de-DE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ED1C4DF-6CA6-480F-9C53-A2D3867D0D7B}" type="slidenum">
              <a:rPr lang="de-DE" smtClean="0"/>
              <a:t>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5759385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ED1C4DF-6CA6-480F-9C53-A2D3867D0D7B}" type="slidenum">
              <a:rPr lang="de-DE" smtClean="0"/>
              <a:t>1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86922751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ED1C4DF-6CA6-480F-9C53-A2D3867D0D7B}" type="slidenum">
              <a:rPr lang="de-DE" smtClean="0"/>
              <a:t>1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10376523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ED1C4DF-6CA6-480F-9C53-A2D3867D0D7B}" type="slidenum">
              <a:rPr lang="de-DE" smtClean="0"/>
              <a:t>1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57348738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ED1C4DF-6CA6-480F-9C53-A2D3867D0D7B}" type="slidenum">
              <a:rPr lang="de-DE" smtClean="0"/>
              <a:t>2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60956595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ED1C4DF-6CA6-480F-9C53-A2D3867D0D7B}" type="slidenum">
              <a:rPr lang="de-DE" smtClean="0"/>
              <a:t>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5890378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ED1C4DF-6CA6-480F-9C53-A2D3867D0D7B}" type="slidenum">
              <a:rPr lang="de-DE" smtClean="0"/>
              <a:t>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7023009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ED1C4DF-6CA6-480F-9C53-A2D3867D0D7B}" type="slidenum">
              <a:rPr lang="de-DE" smtClean="0"/>
              <a:t>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629811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ED1C4DF-6CA6-480F-9C53-A2D3867D0D7B}" type="slidenum">
              <a:rPr lang="de-DE" smtClean="0"/>
              <a:t>1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7266129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ED1C4DF-6CA6-480F-9C53-A2D3867D0D7B}" type="slidenum">
              <a:rPr lang="de-DE" smtClean="0"/>
              <a:t>1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7589293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ED1C4DF-6CA6-480F-9C53-A2D3867D0D7B}" type="slidenum">
              <a:rPr lang="de-DE" smtClean="0"/>
              <a:t>1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661667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ED1C4DF-6CA6-480F-9C53-A2D3867D0D7B}" type="slidenum">
              <a:rPr lang="de-DE" smtClean="0"/>
              <a:t>1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7167873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ED1C4DF-6CA6-480F-9C53-A2D3867D0D7B}" type="slidenum">
              <a:rPr lang="de-DE" smtClean="0"/>
              <a:t>1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1611614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13" Type="http://schemas.openxmlformats.org/officeDocument/2006/relationships/image" Target="../media/image14.png"/><Relationship Id="rId3" Type="http://schemas.openxmlformats.org/officeDocument/2006/relationships/image" Target="../media/image4.png"/><Relationship Id="rId7" Type="http://schemas.openxmlformats.org/officeDocument/2006/relationships/image" Target="../media/image8.png"/><Relationship Id="rId12" Type="http://schemas.openxmlformats.org/officeDocument/2006/relationships/image" Target="../media/image13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7.png"/><Relationship Id="rId11" Type="http://schemas.openxmlformats.org/officeDocument/2006/relationships/image" Target="../media/image12.png"/><Relationship Id="rId5" Type="http://schemas.openxmlformats.org/officeDocument/2006/relationships/image" Target="../media/image6.png"/><Relationship Id="rId15" Type="http://schemas.openxmlformats.org/officeDocument/2006/relationships/image" Target="../media/image16.png"/><Relationship Id="rId10" Type="http://schemas.openxmlformats.org/officeDocument/2006/relationships/image" Target="../media/image11.png"/><Relationship Id="rId4" Type="http://schemas.openxmlformats.org/officeDocument/2006/relationships/image" Target="../media/image5.png"/><Relationship Id="rId9" Type="http://schemas.openxmlformats.org/officeDocument/2006/relationships/image" Target="../media/image10.png"/><Relationship Id="rId14" Type="http://schemas.openxmlformats.org/officeDocument/2006/relationships/image" Target="../media/image15.png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Lehrstuhl">
            <a:extLst>
              <a:ext uri="{FF2B5EF4-FFF2-40B4-BE49-F238E27FC236}">
                <a16:creationId xmlns:a16="http://schemas.microsoft.com/office/drawing/2014/main" id="{865F1AB1-09E4-48E8-BD15-25AFDFED92B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39788" y="4292600"/>
            <a:ext cx="2575385" cy="96975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5000"/>
              </a:lnSpc>
              <a:spcBef>
                <a:spcPct val="75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Prof. Dr.-Ing. Jörg Franke</a:t>
            </a:r>
          </a:p>
          <a:p>
            <a:pPr marL="0" marR="0" lvl="0" indent="0" algn="l" defTabSz="914400" rtl="0" eaLnBrk="0" fontAlgn="base" latinLnBrk="0" hangingPunct="0">
              <a:lnSpc>
                <a:spcPct val="105000"/>
              </a:lnSpc>
              <a:spcBef>
                <a:spcPct val="75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Lehrstuhl für Fertigungsautomatisierung</a:t>
            </a:r>
            <a:br>
              <a:rPr kumimoji="0" lang="de-DE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</a:br>
            <a:r>
              <a:rPr kumimoji="0" lang="de-DE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und Produktionssystematik</a:t>
            </a:r>
          </a:p>
          <a:p>
            <a:pPr marL="0" marR="0" lvl="0" indent="0" algn="l" defTabSz="914400" rtl="0" eaLnBrk="0" fontAlgn="base" latinLnBrk="0" hangingPunct="0">
              <a:lnSpc>
                <a:spcPct val="105000"/>
              </a:lnSpc>
              <a:spcBef>
                <a:spcPct val="75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Friedrich-Alexander-Universität Erlangen-Nürnberg</a:t>
            </a:r>
          </a:p>
        </p:txBody>
      </p:sp>
      <p:sp>
        <p:nvSpPr>
          <p:cNvPr id="9" name="Title Picture">
            <a:extLst>
              <a:ext uri="{FF2B5EF4-FFF2-40B4-BE49-F238E27FC236}">
                <a16:creationId xmlns:a16="http://schemas.microsoft.com/office/drawing/2014/main" id="{9D576FE6-05EC-4610-8B37-59904779AEF0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4076700"/>
          </a:xfrm>
          <a:custGeom>
            <a:avLst/>
            <a:gdLst>
              <a:gd name="connsiteX0" fmla="*/ 0 w 12192000"/>
              <a:gd name="connsiteY0" fmla="*/ 0 h 4076700"/>
              <a:gd name="connsiteX1" fmla="*/ 12192000 w 12192000"/>
              <a:gd name="connsiteY1" fmla="*/ 0 h 4076700"/>
              <a:gd name="connsiteX2" fmla="*/ 12192000 w 12192000"/>
              <a:gd name="connsiteY2" fmla="*/ 4076700 h 4076700"/>
              <a:gd name="connsiteX3" fmla="*/ 3071416 w 12192000"/>
              <a:gd name="connsiteY3" fmla="*/ 4076700 h 4076700"/>
              <a:gd name="connsiteX4" fmla="*/ 3071416 w 12192000"/>
              <a:gd name="connsiteY4" fmla="*/ 1844700 h 4076700"/>
              <a:gd name="connsiteX5" fmla="*/ 839416 w 12192000"/>
              <a:gd name="connsiteY5" fmla="*/ 1844700 h 4076700"/>
              <a:gd name="connsiteX6" fmla="*/ 839416 w 12192000"/>
              <a:gd name="connsiteY6" fmla="*/ 4076700 h 4076700"/>
              <a:gd name="connsiteX7" fmla="*/ 0 w 12192000"/>
              <a:gd name="connsiteY7" fmla="*/ 4076700 h 4076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4076700">
                <a:moveTo>
                  <a:pt x="0" y="0"/>
                </a:moveTo>
                <a:lnTo>
                  <a:pt x="12192000" y="0"/>
                </a:lnTo>
                <a:lnTo>
                  <a:pt x="12192000" y="4076700"/>
                </a:lnTo>
                <a:lnTo>
                  <a:pt x="3071416" y="4076700"/>
                </a:lnTo>
                <a:lnTo>
                  <a:pt x="3071416" y="1844700"/>
                </a:lnTo>
                <a:lnTo>
                  <a:pt x="839416" y="1844700"/>
                </a:lnTo>
                <a:lnTo>
                  <a:pt x="839416" y="4076700"/>
                </a:lnTo>
                <a:lnTo>
                  <a:pt x="0" y="4076700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36D99F1-B28E-47D9-8E8E-E14C6DF5F8FC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944213" y="4292600"/>
            <a:ext cx="6407999" cy="780983"/>
          </a:xfrm>
        </p:spPr>
        <p:txBody>
          <a:bodyPr anchor="t" anchorCtr="0">
            <a:noAutofit/>
          </a:bodyPr>
          <a:lstStyle>
            <a:lvl1pPr algn="l">
              <a:lnSpc>
                <a:spcPct val="110000"/>
              </a:lnSpc>
              <a:defRPr sz="2400"/>
            </a:lvl1pPr>
          </a:lstStyle>
          <a:p>
            <a:r>
              <a:rPr lang="de-DE" dirty="0"/>
              <a:t>Präsentationstitel</a:t>
            </a:r>
          </a:p>
        </p:txBody>
      </p:sp>
      <p:sp>
        <p:nvSpPr>
          <p:cNvPr id="3" name="Untertitel 1">
            <a:extLst>
              <a:ext uri="{FF2B5EF4-FFF2-40B4-BE49-F238E27FC236}">
                <a16:creationId xmlns:a16="http://schemas.microsoft.com/office/drawing/2014/main" id="{FAC6BD1B-9849-451E-8BB2-53904153AB2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943475" y="5408613"/>
            <a:ext cx="6408738" cy="830997"/>
          </a:xfrm>
        </p:spPr>
        <p:txBody>
          <a:bodyPr wrap="square">
            <a:noAutofit/>
          </a:bodyPr>
          <a:lstStyle>
            <a:lvl1pPr marL="0" indent="0" algn="l">
              <a:spcBef>
                <a:spcPts val="0"/>
              </a:spcBef>
              <a:buNone/>
              <a:defRPr sz="18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Untertitel Präsentation: Präsentationsanlass, Kunde, Kooperationspartner, Vorlesung</a:t>
            </a:r>
          </a:p>
        </p:txBody>
      </p:sp>
      <p:grpSp>
        <p:nvGrpSpPr>
          <p:cNvPr id="12" name="Gruppieren 11">
            <a:extLst>
              <a:ext uri="{FF2B5EF4-FFF2-40B4-BE49-F238E27FC236}">
                <a16:creationId xmlns:a16="http://schemas.microsoft.com/office/drawing/2014/main" id="{A076367C-AB7D-479E-A208-D24657615421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839788" y="1841252"/>
            <a:ext cx="2235447" cy="2235448"/>
            <a:chOff x="5757863" y="1597024"/>
            <a:chExt cx="1971675" cy="1971675"/>
          </a:xfrm>
        </p:grpSpPr>
        <p:sp>
          <p:nvSpPr>
            <p:cNvPr id="13" name="AutoShape 61">
              <a:extLst>
                <a:ext uri="{FF2B5EF4-FFF2-40B4-BE49-F238E27FC236}">
                  <a16:creationId xmlns:a16="http://schemas.microsoft.com/office/drawing/2014/main" id="{021B169B-3729-4188-95EC-DF427B093B39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5757863" y="1597024"/>
              <a:ext cx="1971675" cy="19716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Rectangle 63">
              <a:extLst>
                <a:ext uri="{FF2B5EF4-FFF2-40B4-BE49-F238E27FC236}">
                  <a16:creationId xmlns:a16="http://schemas.microsoft.com/office/drawing/2014/main" id="{DD3B038C-AB66-4A83-B4D7-6C3B1E091CD3}"/>
                </a:ext>
              </a:extLst>
            </p:cNvPr>
            <p:cNvSpPr>
              <a:spLocks noChangeAspect="1" noChangeArrowheads="1"/>
            </p:cNvSpPr>
            <p:nvPr/>
          </p:nvSpPr>
          <p:spPr bwMode="auto">
            <a:xfrm>
              <a:off x="5757863" y="1597024"/>
              <a:ext cx="1971675" cy="1971675"/>
            </a:xfrm>
            <a:prstGeom prst="rect">
              <a:avLst/>
            </a:prstGeom>
            <a:solidFill>
              <a:srgbClr val="97C139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" name="Freeform 64">
              <a:extLst>
                <a:ext uri="{FF2B5EF4-FFF2-40B4-BE49-F238E27FC236}">
                  <a16:creationId xmlns:a16="http://schemas.microsoft.com/office/drawing/2014/main" id="{A3EC7AD9-EFD9-4A37-9183-4C02724C53E0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5865813" y="1795463"/>
              <a:ext cx="1785938" cy="576263"/>
            </a:xfrm>
            <a:custGeom>
              <a:avLst/>
              <a:gdLst>
                <a:gd name="T0" fmla="*/ 880 w 4944"/>
                <a:gd name="T1" fmla="*/ 41 h 1592"/>
                <a:gd name="T2" fmla="*/ 0 w 4944"/>
                <a:gd name="T3" fmla="*/ 1553 h 1592"/>
                <a:gd name="T4" fmla="*/ 396 w 4944"/>
                <a:gd name="T5" fmla="*/ 960 h 1592"/>
                <a:gd name="T6" fmla="*/ 832 w 4944"/>
                <a:gd name="T7" fmla="*/ 628 h 1592"/>
                <a:gd name="T8" fmla="*/ 396 w 4944"/>
                <a:gd name="T9" fmla="*/ 376 h 1592"/>
                <a:gd name="T10" fmla="*/ 1923 w 4944"/>
                <a:gd name="T11" fmla="*/ 1290 h 1592"/>
                <a:gd name="T12" fmla="*/ 2448 w 4944"/>
                <a:gd name="T13" fmla="*/ 1553 h 1592"/>
                <a:gd name="T14" fmla="*/ 1437 w 4944"/>
                <a:gd name="T15" fmla="*/ 41 h 1592"/>
                <a:gd name="T16" fmla="*/ 1272 w 4944"/>
                <a:gd name="T17" fmla="*/ 1553 h 1592"/>
                <a:gd name="T18" fmla="*/ 1923 w 4944"/>
                <a:gd name="T19" fmla="*/ 1290 h 1592"/>
                <a:gd name="T20" fmla="*/ 1488 w 4944"/>
                <a:gd name="T21" fmla="*/ 990 h 1592"/>
                <a:gd name="T22" fmla="*/ 1655 w 4944"/>
                <a:gd name="T23" fmla="*/ 509 h 1592"/>
                <a:gd name="T24" fmla="*/ 2572 w 4944"/>
                <a:gd name="T25" fmla="*/ 1553 h 1592"/>
                <a:gd name="T26" fmla="*/ 2968 w 4944"/>
                <a:gd name="T27" fmla="*/ 1052 h 1592"/>
                <a:gd name="T28" fmla="*/ 3489 w 4944"/>
                <a:gd name="T29" fmla="*/ 999 h 1592"/>
                <a:gd name="T30" fmla="*/ 3734 w 4944"/>
                <a:gd name="T31" fmla="*/ 538 h 1592"/>
                <a:gd name="T32" fmla="*/ 3580 w 4944"/>
                <a:gd name="T33" fmla="*/ 163 h 1592"/>
                <a:gd name="T34" fmla="*/ 3179 w 4944"/>
                <a:gd name="T35" fmla="*/ 41 h 1592"/>
                <a:gd name="T36" fmla="*/ 2572 w 4944"/>
                <a:gd name="T37" fmla="*/ 1553 h 1592"/>
                <a:gd name="T38" fmla="*/ 3035 w 4944"/>
                <a:gd name="T39" fmla="*/ 357 h 1592"/>
                <a:gd name="T40" fmla="*/ 3237 w 4944"/>
                <a:gd name="T41" fmla="*/ 382 h 1592"/>
                <a:gd name="T42" fmla="*/ 3324 w 4944"/>
                <a:gd name="T43" fmla="*/ 552 h 1592"/>
                <a:gd name="T44" fmla="*/ 3232 w 4944"/>
                <a:gd name="T45" fmla="*/ 713 h 1592"/>
                <a:gd name="T46" fmla="*/ 3035 w 4944"/>
                <a:gd name="T47" fmla="*/ 736 h 1592"/>
                <a:gd name="T48" fmla="*/ 2968 w 4944"/>
                <a:gd name="T49" fmla="*/ 357 h 1592"/>
                <a:gd name="T50" fmla="*/ 4733 w 4944"/>
                <a:gd name="T51" fmla="*/ 60 h 1592"/>
                <a:gd name="T52" fmla="*/ 4403 w 4944"/>
                <a:gd name="T53" fmla="*/ 0 h 1592"/>
                <a:gd name="T54" fmla="*/ 4025 w 4944"/>
                <a:gd name="T55" fmla="*/ 140 h 1592"/>
                <a:gd name="T56" fmla="*/ 3878 w 4944"/>
                <a:gd name="T57" fmla="*/ 509 h 1592"/>
                <a:gd name="T58" fmla="*/ 3952 w 4944"/>
                <a:gd name="T59" fmla="*/ 766 h 1592"/>
                <a:gd name="T60" fmla="*/ 4151 w 4944"/>
                <a:gd name="T61" fmla="*/ 894 h 1592"/>
                <a:gd name="T62" fmla="*/ 4346 w 4944"/>
                <a:gd name="T63" fmla="*/ 953 h 1592"/>
                <a:gd name="T64" fmla="*/ 4472 w 4944"/>
                <a:gd name="T65" fmla="*/ 1008 h 1592"/>
                <a:gd name="T66" fmla="*/ 4531 w 4944"/>
                <a:gd name="T67" fmla="*/ 1109 h 1592"/>
                <a:gd name="T68" fmla="*/ 4472 w 4944"/>
                <a:gd name="T69" fmla="*/ 1224 h 1592"/>
                <a:gd name="T70" fmla="*/ 4339 w 4944"/>
                <a:gd name="T71" fmla="*/ 1260 h 1592"/>
                <a:gd name="T72" fmla="*/ 4092 w 4944"/>
                <a:gd name="T73" fmla="*/ 1185 h 1592"/>
                <a:gd name="T74" fmla="*/ 3814 w 4944"/>
                <a:gd name="T75" fmla="*/ 1420 h 1592"/>
                <a:gd name="T76" fmla="*/ 4163 w 4944"/>
                <a:gd name="T77" fmla="*/ 1572 h 1592"/>
                <a:gd name="T78" fmla="*/ 4506 w 4944"/>
                <a:gd name="T79" fmla="*/ 1579 h 1592"/>
                <a:gd name="T80" fmla="*/ 4786 w 4944"/>
                <a:gd name="T81" fmla="*/ 1450 h 1592"/>
                <a:gd name="T82" fmla="*/ 4931 w 4944"/>
                <a:gd name="T83" fmla="*/ 1194 h 1592"/>
                <a:gd name="T84" fmla="*/ 4917 w 4944"/>
                <a:gd name="T85" fmla="*/ 885 h 1592"/>
                <a:gd name="T86" fmla="*/ 4717 w 4944"/>
                <a:gd name="T87" fmla="*/ 688 h 1592"/>
                <a:gd name="T88" fmla="*/ 4467 w 4944"/>
                <a:gd name="T89" fmla="*/ 600 h 1592"/>
                <a:gd name="T90" fmla="*/ 4353 w 4944"/>
                <a:gd name="T91" fmla="*/ 555 h 1592"/>
                <a:gd name="T92" fmla="*/ 4291 w 4944"/>
                <a:gd name="T93" fmla="*/ 456 h 1592"/>
                <a:gd name="T94" fmla="*/ 4346 w 4944"/>
                <a:gd name="T95" fmla="*/ 362 h 1592"/>
                <a:gd name="T96" fmla="*/ 4460 w 4944"/>
                <a:gd name="T97" fmla="*/ 330 h 1592"/>
                <a:gd name="T98" fmla="*/ 4724 w 4944"/>
                <a:gd name="T99" fmla="*/ 431 h 15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4944" h="1592">
                  <a:moveTo>
                    <a:pt x="880" y="376"/>
                  </a:moveTo>
                  <a:lnTo>
                    <a:pt x="880" y="41"/>
                  </a:lnTo>
                  <a:lnTo>
                    <a:pt x="0" y="41"/>
                  </a:lnTo>
                  <a:lnTo>
                    <a:pt x="0" y="1553"/>
                  </a:lnTo>
                  <a:lnTo>
                    <a:pt x="396" y="1553"/>
                  </a:lnTo>
                  <a:lnTo>
                    <a:pt x="396" y="960"/>
                  </a:lnTo>
                  <a:lnTo>
                    <a:pt x="832" y="960"/>
                  </a:lnTo>
                  <a:lnTo>
                    <a:pt x="832" y="628"/>
                  </a:lnTo>
                  <a:lnTo>
                    <a:pt x="396" y="628"/>
                  </a:lnTo>
                  <a:lnTo>
                    <a:pt x="396" y="376"/>
                  </a:lnTo>
                  <a:lnTo>
                    <a:pt x="880" y="376"/>
                  </a:lnTo>
                  <a:close/>
                  <a:moveTo>
                    <a:pt x="1923" y="1290"/>
                  </a:moveTo>
                  <a:lnTo>
                    <a:pt x="2026" y="1553"/>
                  </a:lnTo>
                  <a:lnTo>
                    <a:pt x="2448" y="1553"/>
                  </a:lnTo>
                  <a:lnTo>
                    <a:pt x="1873" y="41"/>
                  </a:lnTo>
                  <a:lnTo>
                    <a:pt x="1437" y="41"/>
                  </a:lnTo>
                  <a:lnTo>
                    <a:pt x="851" y="1553"/>
                  </a:lnTo>
                  <a:lnTo>
                    <a:pt x="1272" y="1553"/>
                  </a:lnTo>
                  <a:lnTo>
                    <a:pt x="1378" y="1290"/>
                  </a:lnTo>
                  <a:lnTo>
                    <a:pt x="1923" y="1290"/>
                  </a:lnTo>
                  <a:close/>
                  <a:moveTo>
                    <a:pt x="1818" y="990"/>
                  </a:moveTo>
                  <a:lnTo>
                    <a:pt x="1488" y="990"/>
                  </a:lnTo>
                  <a:lnTo>
                    <a:pt x="1653" y="509"/>
                  </a:lnTo>
                  <a:lnTo>
                    <a:pt x="1655" y="509"/>
                  </a:lnTo>
                  <a:lnTo>
                    <a:pt x="1818" y="990"/>
                  </a:lnTo>
                  <a:close/>
                  <a:moveTo>
                    <a:pt x="2572" y="1553"/>
                  </a:moveTo>
                  <a:lnTo>
                    <a:pt x="2968" y="1553"/>
                  </a:lnTo>
                  <a:lnTo>
                    <a:pt x="2968" y="1052"/>
                  </a:lnTo>
                  <a:lnTo>
                    <a:pt x="3193" y="1052"/>
                  </a:lnTo>
                  <a:cubicBezTo>
                    <a:pt x="3310" y="1054"/>
                    <a:pt x="3409" y="1034"/>
                    <a:pt x="3489" y="999"/>
                  </a:cubicBezTo>
                  <a:cubicBezTo>
                    <a:pt x="3569" y="963"/>
                    <a:pt x="3631" y="908"/>
                    <a:pt x="3672" y="832"/>
                  </a:cubicBezTo>
                  <a:cubicBezTo>
                    <a:pt x="3713" y="754"/>
                    <a:pt x="3734" y="658"/>
                    <a:pt x="3734" y="538"/>
                  </a:cubicBezTo>
                  <a:cubicBezTo>
                    <a:pt x="3734" y="451"/>
                    <a:pt x="3722" y="376"/>
                    <a:pt x="3695" y="314"/>
                  </a:cubicBezTo>
                  <a:cubicBezTo>
                    <a:pt x="3670" y="254"/>
                    <a:pt x="3628" y="199"/>
                    <a:pt x="3580" y="163"/>
                  </a:cubicBezTo>
                  <a:cubicBezTo>
                    <a:pt x="3532" y="119"/>
                    <a:pt x="3473" y="92"/>
                    <a:pt x="3404" y="71"/>
                  </a:cubicBezTo>
                  <a:cubicBezTo>
                    <a:pt x="3338" y="50"/>
                    <a:pt x="3262" y="41"/>
                    <a:pt x="3179" y="41"/>
                  </a:cubicBezTo>
                  <a:lnTo>
                    <a:pt x="2572" y="41"/>
                  </a:lnTo>
                  <a:lnTo>
                    <a:pt x="2572" y="1553"/>
                  </a:lnTo>
                  <a:close/>
                  <a:moveTo>
                    <a:pt x="2968" y="357"/>
                  </a:moveTo>
                  <a:lnTo>
                    <a:pt x="3035" y="357"/>
                  </a:lnTo>
                  <a:cubicBezTo>
                    <a:pt x="3074" y="357"/>
                    <a:pt x="3111" y="360"/>
                    <a:pt x="3145" y="362"/>
                  </a:cubicBezTo>
                  <a:cubicBezTo>
                    <a:pt x="3179" y="364"/>
                    <a:pt x="3212" y="373"/>
                    <a:pt x="3237" y="382"/>
                  </a:cubicBezTo>
                  <a:cubicBezTo>
                    <a:pt x="3262" y="394"/>
                    <a:pt x="3283" y="412"/>
                    <a:pt x="3299" y="442"/>
                  </a:cubicBezTo>
                  <a:cubicBezTo>
                    <a:pt x="3315" y="467"/>
                    <a:pt x="3319" y="504"/>
                    <a:pt x="3324" y="552"/>
                  </a:cubicBezTo>
                  <a:cubicBezTo>
                    <a:pt x="3319" y="598"/>
                    <a:pt x="3315" y="632"/>
                    <a:pt x="3296" y="658"/>
                  </a:cubicBezTo>
                  <a:cubicBezTo>
                    <a:pt x="3280" y="683"/>
                    <a:pt x="3260" y="701"/>
                    <a:pt x="3232" y="713"/>
                  </a:cubicBezTo>
                  <a:cubicBezTo>
                    <a:pt x="3205" y="724"/>
                    <a:pt x="3175" y="729"/>
                    <a:pt x="3140" y="733"/>
                  </a:cubicBezTo>
                  <a:cubicBezTo>
                    <a:pt x="3106" y="736"/>
                    <a:pt x="3072" y="736"/>
                    <a:pt x="3035" y="736"/>
                  </a:cubicBezTo>
                  <a:lnTo>
                    <a:pt x="2968" y="736"/>
                  </a:lnTo>
                  <a:lnTo>
                    <a:pt x="2968" y="357"/>
                  </a:lnTo>
                  <a:close/>
                  <a:moveTo>
                    <a:pt x="4880" y="126"/>
                  </a:moveTo>
                  <a:cubicBezTo>
                    <a:pt x="4837" y="101"/>
                    <a:pt x="4786" y="78"/>
                    <a:pt x="4733" y="60"/>
                  </a:cubicBezTo>
                  <a:cubicBezTo>
                    <a:pt x="4678" y="41"/>
                    <a:pt x="4623" y="25"/>
                    <a:pt x="4566" y="16"/>
                  </a:cubicBezTo>
                  <a:cubicBezTo>
                    <a:pt x="4508" y="7"/>
                    <a:pt x="4456" y="0"/>
                    <a:pt x="4403" y="0"/>
                  </a:cubicBezTo>
                  <a:cubicBezTo>
                    <a:pt x="4325" y="0"/>
                    <a:pt x="4257" y="14"/>
                    <a:pt x="4193" y="39"/>
                  </a:cubicBezTo>
                  <a:cubicBezTo>
                    <a:pt x="4128" y="62"/>
                    <a:pt x="4071" y="94"/>
                    <a:pt x="4025" y="140"/>
                  </a:cubicBezTo>
                  <a:cubicBezTo>
                    <a:pt x="3979" y="185"/>
                    <a:pt x="3943" y="238"/>
                    <a:pt x="3917" y="300"/>
                  </a:cubicBezTo>
                  <a:cubicBezTo>
                    <a:pt x="3890" y="362"/>
                    <a:pt x="3878" y="433"/>
                    <a:pt x="3878" y="509"/>
                  </a:cubicBezTo>
                  <a:cubicBezTo>
                    <a:pt x="3878" y="566"/>
                    <a:pt x="3883" y="619"/>
                    <a:pt x="3897" y="658"/>
                  </a:cubicBezTo>
                  <a:cubicBezTo>
                    <a:pt x="3908" y="701"/>
                    <a:pt x="3927" y="736"/>
                    <a:pt x="3952" y="766"/>
                  </a:cubicBezTo>
                  <a:cubicBezTo>
                    <a:pt x="3975" y="795"/>
                    <a:pt x="4002" y="821"/>
                    <a:pt x="4037" y="841"/>
                  </a:cubicBezTo>
                  <a:cubicBezTo>
                    <a:pt x="4069" y="860"/>
                    <a:pt x="4108" y="878"/>
                    <a:pt x="4151" y="894"/>
                  </a:cubicBezTo>
                  <a:cubicBezTo>
                    <a:pt x="4195" y="908"/>
                    <a:pt x="4241" y="921"/>
                    <a:pt x="4291" y="937"/>
                  </a:cubicBezTo>
                  <a:cubicBezTo>
                    <a:pt x="4307" y="940"/>
                    <a:pt x="4325" y="947"/>
                    <a:pt x="4346" y="953"/>
                  </a:cubicBezTo>
                  <a:cubicBezTo>
                    <a:pt x="4369" y="960"/>
                    <a:pt x="4392" y="965"/>
                    <a:pt x="4412" y="974"/>
                  </a:cubicBezTo>
                  <a:cubicBezTo>
                    <a:pt x="4435" y="983"/>
                    <a:pt x="4454" y="995"/>
                    <a:pt x="4472" y="1008"/>
                  </a:cubicBezTo>
                  <a:cubicBezTo>
                    <a:pt x="4488" y="1020"/>
                    <a:pt x="4502" y="1034"/>
                    <a:pt x="4513" y="1052"/>
                  </a:cubicBezTo>
                  <a:cubicBezTo>
                    <a:pt x="4525" y="1066"/>
                    <a:pt x="4531" y="1086"/>
                    <a:pt x="4531" y="1109"/>
                  </a:cubicBezTo>
                  <a:cubicBezTo>
                    <a:pt x="4531" y="1134"/>
                    <a:pt x="4525" y="1157"/>
                    <a:pt x="4513" y="1178"/>
                  </a:cubicBezTo>
                  <a:cubicBezTo>
                    <a:pt x="4502" y="1196"/>
                    <a:pt x="4488" y="1212"/>
                    <a:pt x="4472" y="1224"/>
                  </a:cubicBezTo>
                  <a:cubicBezTo>
                    <a:pt x="4451" y="1237"/>
                    <a:pt x="4431" y="1244"/>
                    <a:pt x="4408" y="1251"/>
                  </a:cubicBezTo>
                  <a:cubicBezTo>
                    <a:pt x="4385" y="1258"/>
                    <a:pt x="4362" y="1260"/>
                    <a:pt x="4339" y="1260"/>
                  </a:cubicBezTo>
                  <a:cubicBezTo>
                    <a:pt x="4293" y="1260"/>
                    <a:pt x="4250" y="1253"/>
                    <a:pt x="4211" y="1240"/>
                  </a:cubicBezTo>
                  <a:cubicBezTo>
                    <a:pt x="4167" y="1224"/>
                    <a:pt x="4128" y="1208"/>
                    <a:pt x="4092" y="1185"/>
                  </a:cubicBezTo>
                  <a:cubicBezTo>
                    <a:pt x="4055" y="1159"/>
                    <a:pt x="4021" y="1132"/>
                    <a:pt x="3984" y="1105"/>
                  </a:cubicBezTo>
                  <a:lnTo>
                    <a:pt x="3814" y="1420"/>
                  </a:lnTo>
                  <a:cubicBezTo>
                    <a:pt x="3869" y="1457"/>
                    <a:pt x="3922" y="1489"/>
                    <a:pt x="3982" y="1514"/>
                  </a:cubicBezTo>
                  <a:cubicBezTo>
                    <a:pt x="4039" y="1540"/>
                    <a:pt x="4099" y="1560"/>
                    <a:pt x="4163" y="1572"/>
                  </a:cubicBezTo>
                  <a:cubicBezTo>
                    <a:pt x="4225" y="1588"/>
                    <a:pt x="4291" y="1592"/>
                    <a:pt x="4353" y="1592"/>
                  </a:cubicBezTo>
                  <a:cubicBezTo>
                    <a:pt x="4403" y="1592"/>
                    <a:pt x="4456" y="1590"/>
                    <a:pt x="4506" y="1579"/>
                  </a:cubicBezTo>
                  <a:cubicBezTo>
                    <a:pt x="4559" y="1570"/>
                    <a:pt x="4609" y="1553"/>
                    <a:pt x="4655" y="1531"/>
                  </a:cubicBezTo>
                  <a:cubicBezTo>
                    <a:pt x="4704" y="1512"/>
                    <a:pt x="4747" y="1485"/>
                    <a:pt x="4786" y="1450"/>
                  </a:cubicBezTo>
                  <a:cubicBezTo>
                    <a:pt x="4827" y="1416"/>
                    <a:pt x="4860" y="1379"/>
                    <a:pt x="4880" y="1333"/>
                  </a:cubicBezTo>
                  <a:cubicBezTo>
                    <a:pt x="4905" y="1290"/>
                    <a:pt x="4922" y="1244"/>
                    <a:pt x="4931" y="1194"/>
                  </a:cubicBezTo>
                  <a:cubicBezTo>
                    <a:pt x="4942" y="1146"/>
                    <a:pt x="4944" y="1095"/>
                    <a:pt x="4944" y="1045"/>
                  </a:cubicBezTo>
                  <a:cubicBezTo>
                    <a:pt x="4944" y="983"/>
                    <a:pt x="4935" y="931"/>
                    <a:pt x="4917" y="885"/>
                  </a:cubicBezTo>
                  <a:cubicBezTo>
                    <a:pt x="4896" y="841"/>
                    <a:pt x="4871" y="802"/>
                    <a:pt x="4837" y="770"/>
                  </a:cubicBezTo>
                  <a:cubicBezTo>
                    <a:pt x="4802" y="738"/>
                    <a:pt x="4763" y="710"/>
                    <a:pt x="4717" y="688"/>
                  </a:cubicBezTo>
                  <a:cubicBezTo>
                    <a:pt x="4671" y="665"/>
                    <a:pt x="4623" y="646"/>
                    <a:pt x="4568" y="632"/>
                  </a:cubicBezTo>
                  <a:lnTo>
                    <a:pt x="4467" y="600"/>
                  </a:lnTo>
                  <a:cubicBezTo>
                    <a:pt x="4449" y="598"/>
                    <a:pt x="4428" y="589"/>
                    <a:pt x="4410" y="582"/>
                  </a:cubicBezTo>
                  <a:cubicBezTo>
                    <a:pt x="4389" y="573"/>
                    <a:pt x="4369" y="564"/>
                    <a:pt x="4353" y="555"/>
                  </a:cubicBezTo>
                  <a:cubicBezTo>
                    <a:pt x="4334" y="543"/>
                    <a:pt x="4321" y="529"/>
                    <a:pt x="4309" y="513"/>
                  </a:cubicBezTo>
                  <a:cubicBezTo>
                    <a:pt x="4296" y="497"/>
                    <a:pt x="4291" y="479"/>
                    <a:pt x="4291" y="456"/>
                  </a:cubicBezTo>
                  <a:cubicBezTo>
                    <a:pt x="4291" y="438"/>
                    <a:pt x="4296" y="417"/>
                    <a:pt x="4307" y="399"/>
                  </a:cubicBezTo>
                  <a:cubicBezTo>
                    <a:pt x="4318" y="385"/>
                    <a:pt x="4330" y="373"/>
                    <a:pt x="4346" y="362"/>
                  </a:cubicBezTo>
                  <a:cubicBezTo>
                    <a:pt x="4367" y="353"/>
                    <a:pt x="4383" y="343"/>
                    <a:pt x="4403" y="339"/>
                  </a:cubicBezTo>
                  <a:cubicBezTo>
                    <a:pt x="4424" y="332"/>
                    <a:pt x="4442" y="330"/>
                    <a:pt x="4460" y="330"/>
                  </a:cubicBezTo>
                  <a:cubicBezTo>
                    <a:pt x="4508" y="330"/>
                    <a:pt x="4557" y="341"/>
                    <a:pt x="4600" y="357"/>
                  </a:cubicBezTo>
                  <a:cubicBezTo>
                    <a:pt x="4646" y="376"/>
                    <a:pt x="4685" y="399"/>
                    <a:pt x="4724" y="431"/>
                  </a:cubicBezTo>
                  <a:lnTo>
                    <a:pt x="4880" y="12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pic>
        <p:nvPicPr>
          <p:cNvPr id="17" name="Grafik 1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9788" y="5410199"/>
            <a:ext cx="2179589" cy="8985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304239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1" pos="3114">
          <p15:clr>
            <a:srgbClr val="A4A3A4"/>
          </p15:clr>
        </p15:guide>
        <p15:guide id="32" orient="horz" pos="2704">
          <p15:clr>
            <a:srgbClr val="A4A3A4"/>
          </p15:clr>
        </p15:guide>
        <p15:guide id="33" orient="horz" pos="3407">
          <p15:clr>
            <a:srgbClr val="A4A3A4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bschluss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Lehrstuhl">
            <a:extLst>
              <a:ext uri="{FF2B5EF4-FFF2-40B4-BE49-F238E27FC236}">
                <a16:creationId xmlns:a16="http://schemas.microsoft.com/office/drawing/2014/main" id="{865F1AB1-09E4-48E8-BD15-25AFDFED92B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39788" y="4292600"/>
            <a:ext cx="2575385" cy="96975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5000"/>
              </a:lnSpc>
              <a:spcBef>
                <a:spcPct val="75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Prof. Dr.-Ing. Jörg Franke</a:t>
            </a:r>
          </a:p>
          <a:p>
            <a:pPr marL="0" marR="0" lvl="0" indent="0" algn="l" defTabSz="914400" rtl="0" eaLnBrk="0" fontAlgn="base" latinLnBrk="0" hangingPunct="0">
              <a:lnSpc>
                <a:spcPct val="105000"/>
              </a:lnSpc>
              <a:spcBef>
                <a:spcPct val="75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Lehrstuhl für Fertigungsautomatisierung</a:t>
            </a:r>
            <a:br>
              <a:rPr kumimoji="0" lang="de-DE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</a:br>
            <a:r>
              <a:rPr kumimoji="0" lang="de-DE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und Produktionssystematik</a:t>
            </a:r>
          </a:p>
          <a:p>
            <a:pPr marL="0" marR="0" lvl="0" indent="0" algn="l" defTabSz="914400" rtl="0" eaLnBrk="0" fontAlgn="base" latinLnBrk="0" hangingPunct="0">
              <a:lnSpc>
                <a:spcPct val="105000"/>
              </a:lnSpc>
              <a:spcBef>
                <a:spcPct val="75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Friedrich-Alexander-Universität Erlangen-Nürnberg</a:t>
            </a:r>
          </a:p>
        </p:txBody>
      </p:sp>
      <p:sp>
        <p:nvSpPr>
          <p:cNvPr id="7" name="Danke">
            <a:extLst>
              <a:ext uri="{FF2B5EF4-FFF2-40B4-BE49-F238E27FC236}">
                <a16:creationId xmlns:a16="http://schemas.microsoft.com/office/drawing/2014/main" id="{B8AEBB16-568B-416C-A52D-B9D0B7AD8666}"/>
              </a:ext>
            </a:extLst>
          </p:cNvPr>
          <p:cNvSpPr txBox="1"/>
          <p:nvPr/>
        </p:nvSpPr>
        <p:spPr>
          <a:xfrm>
            <a:off x="8614283" y="4811018"/>
            <a:ext cx="2737929" cy="92333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r"/>
            <a:r>
              <a:rPr lang="de-DE" sz="6000" b="1" cap="all" baseline="0" dirty="0"/>
              <a:t>Danke</a:t>
            </a:r>
          </a:p>
        </p:txBody>
      </p:sp>
      <p:sp>
        <p:nvSpPr>
          <p:cNvPr id="9" name="Title Picture">
            <a:extLst>
              <a:ext uri="{FF2B5EF4-FFF2-40B4-BE49-F238E27FC236}">
                <a16:creationId xmlns:a16="http://schemas.microsoft.com/office/drawing/2014/main" id="{9D576FE6-05EC-4610-8B37-59904779AEF0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4076700"/>
          </a:xfrm>
          <a:custGeom>
            <a:avLst/>
            <a:gdLst>
              <a:gd name="connsiteX0" fmla="*/ 0 w 12192000"/>
              <a:gd name="connsiteY0" fmla="*/ 0 h 4076700"/>
              <a:gd name="connsiteX1" fmla="*/ 12192000 w 12192000"/>
              <a:gd name="connsiteY1" fmla="*/ 0 h 4076700"/>
              <a:gd name="connsiteX2" fmla="*/ 12192000 w 12192000"/>
              <a:gd name="connsiteY2" fmla="*/ 4076700 h 4076700"/>
              <a:gd name="connsiteX3" fmla="*/ 3071416 w 12192000"/>
              <a:gd name="connsiteY3" fmla="*/ 4076700 h 4076700"/>
              <a:gd name="connsiteX4" fmla="*/ 3071416 w 12192000"/>
              <a:gd name="connsiteY4" fmla="*/ 1844700 h 4076700"/>
              <a:gd name="connsiteX5" fmla="*/ 839416 w 12192000"/>
              <a:gd name="connsiteY5" fmla="*/ 1844700 h 4076700"/>
              <a:gd name="connsiteX6" fmla="*/ 839416 w 12192000"/>
              <a:gd name="connsiteY6" fmla="*/ 4076700 h 4076700"/>
              <a:gd name="connsiteX7" fmla="*/ 0 w 12192000"/>
              <a:gd name="connsiteY7" fmla="*/ 4076700 h 4076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4076700">
                <a:moveTo>
                  <a:pt x="0" y="0"/>
                </a:moveTo>
                <a:lnTo>
                  <a:pt x="12192000" y="0"/>
                </a:lnTo>
                <a:lnTo>
                  <a:pt x="12192000" y="4076700"/>
                </a:lnTo>
                <a:lnTo>
                  <a:pt x="3071416" y="4076700"/>
                </a:lnTo>
                <a:lnTo>
                  <a:pt x="3071416" y="1844700"/>
                </a:lnTo>
                <a:lnTo>
                  <a:pt x="839416" y="1844700"/>
                </a:lnTo>
                <a:lnTo>
                  <a:pt x="839416" y="4076700"/>
                </a:lnTo>
                <a:lnTo>
                  <a:pt x="0" y="4076700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r>
              <a:rPr lang="de-DE"/>
              <a:t>Bild durch Klicken auf Symbol hinzufügen</a:t>
            </a:r>
            <a:endParaRPr lang="de-DE" dirty="0"/>
          </a:p>
        </p:txBody>
      </p:sp>
      <p:grpSp>
        <p:nvGrpSpPr>
          <p:cNvPr id="17" name="Gruppieren 16">
            <a:extLst>
              <a:ext uri="{FF2B5EF4-FFF2-40B4-BE49-F238E27FC236}">
                <a16:creationId xmlns:a16="http://schemas.microsoft.com/office/drawing/2014/main" id="{A076367C-AB7D-479E-A208-D24657615421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839788" y="1841252"/>
            <a:ext cx="2235447" cy="2235448"/>
            <a:chOff x="5757863" y="1597024"/>
            <a:chExt cx="1971675" cy="1971675"/>
          </a:xfrm>
        </p:grpSpPr>
        <p:sp>
          <p:nvSpPr>
            <p:cNvPr id="19" name="AutoShape 61">
              <a:extLst>
                <a:ext uri="{FF2B5EF4-FFF2-40B4-BE49-F238E27FC236}">
                  <a16:creationId xmlns:a16="http://schemas.microsoft.com/office/drawing/2014/main" id="{021B169B-3729-4188-95EC-DF427B093B39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5757863" y="1597024"/>
              <a:ext cx="1971675" cy="19716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" name="Rectangle 63">
              <a:extLst>
                <a:ext uri="{FF2B5EF4-FFF2-40B4-BE49-F238E27FC236}">
                  <a16:creationId xmlns:a16="http://schemas.microsoft.com/office/drawing/2014/main" id="{DD3B038C-AB66-4A83-B4D7-6C3B1E091CD3}"/>
                </a:ext>
              </a:extLst>
            </p:cNvPr>
            <p:cNvSpPr>
              <a:spLocks noChangeAspect="1" noChangeArrowheads="1"/>
            </p:cNvSpPr>
            <p:nvPr/>
          </p:nvSpPr>
          <p:spPr bwMode="auto">
            <a:xfrm>
              <a:off x="5757863" y="1597024"/>
              <a:ext cx="1971675" cy="1971675"/>
            </a:xfrm>
            <a:prstGeom prst="rect">
              <a:avLst/>
            </a:prstGeom>
            <a:solidFill>
              <a:srgbClr val="97C139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" name="Freeform 64">
              <a:extLst>
                <a:ext uri="{FF2B5EF4-FFF2-40B4-BE49-F238E27FC236}">
                  <a16:creationId xmlns:a16="http://schemas.microsoft.com/office/drawing/2014/main" id="{A3EC7AD9-EFD9-4A37-9183-4C02724C53E0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5865813" y="1795463"/>
              <a:ext cx="1785938" cy="576263"/>
            </a:xfrm>
            <a:custGeom>
              <a:avLst/>
              <a:gdLst>
                <a:gd name="T0" fmla="*/ 880 w 4944"/>
                <a:gd name="T1" fmla="*/ 41 h 1592"/>
                <a:gd name="T2" fmla="*/ 0 w 4944"/>
                <a:gd name="T3" fmla="*/ 1553 h 1592"/>
                <a:gd name="T4" fmla="*/ 396 w 4944"/>
                <a:gd name="T5" fmla="*/ 960 h 1592"/>
                <a:gd name="T6" fmla="*/ 832 w 4944"/>
                <a:gd name="T7" fmla="*/ 628 h 1592"/>
                <a:gd name="T8" fmla="*/ 396 w 4944"/>
                <a:gd name="T9" fmla="*/ 376 h 1592"/>
                <a:gd name="T10" fmla="*/ 1923 w 4944"/>
                <a:gd name="T11" fmla="*/ 1290 h 1592"/>
                <a:gd name="T12" fmla="*/ 2448 w 4944"/>
                <a:gd name="T13" fmla="*/ 1553 h 1592"/>
                <a:gd name="T14" fmla="*/ 1437 w 4944"/>
                <a:gd name="T15" fmla="*/ 41 h 1592"/>
                <a:gd name="T16" fmla="*/ 1272 w 4944"/>
                <a:gd name="T17" fmla="*/ 1553 h 1592"/>
                <a:gd name="T18" fmla="*/ 1923 w 4944"/>
                <a:gd name="T19" fmla="*/ 1290 h 1592"/>
                <a:gd name="T20" fmla="*/ 1488 w 4944"/>
                <a:gd name="T21" fmla="*/ 990 h 1592"/>
                <a:gd name="T22" fmla="*/ 1655 w 4944"/>
                <a:gd name="T23" fmla="*/ 509 h 1592"/>
                <a:gd name="T24" fmla="*/ 2572 w 4944"/>
                <a:gd name="T25" fmla="*/ 1553 h 1592"/>
                <a:gd name="T26" fmla="*/ 2968 w 4944"/>
                <a:gd name="T27" fmla="*/ 1052 h 1592"/>
                <a:gd name="T28" fmla="*/ 3489 w 4944"/>
                <a:gd name="T29" fmla="*/ 999 h 1592"/>
                <a:gd name="T30" fmla="*/ 3734 w 4944"/>
                <a:gd name="T31" fmla="*/ 538 h 1592"/>
                <a:gd name="T32" fmla="*/ 3580 w 4944"/>
                <a:gd name="T33" fmla="*/ 163 h 1592"/>
                <a:gd name="T34" fmla="*/ 3179 w 4944"/>
                <a:gd name="T35" fmla="*/ 41 h 1592"/>
                <a:gd name="T36" fmla="*/ 2572 w 4944"/>
                <a:gd name="T37" fmla="*/ 1553 h 1592"/>
                <a:gd name="T38" fmla="*/ 3035 w 4944"/>
                <a:gd name="T39" fmla="*/ 357 h 1592"/>
                <a:gd name="T40" fmla="*/ 3237 w 4944"/>
                <a:gd name="T41" fmla="*/ 382 h 1592"/>
                <a:gd name="T42" fmla="*/ 3324 w 4944"/>
                <a:gd name="T43" fmla="*/ 552 h 1592"/>
                <a:gd name="T44" fmla="*/ 3232 w 4944"/>
                <a:gd name="T45" fmla="*/ 713 h 1592"/>
                <a:gd name="T46" fmla="*/ 3035 w 4944"/>
                <a:gd name="T47" fmla="*/ 736 h 1592"/>
                <a:gd name="T48" fmla="*/ 2968 w 4944"/>
                <a:gd name="T49" fmla="*/ 357 h 1592"/>
                <a:gd name="T50" fmla="*/ 4733 w 4944"/>
                <a:gd name="T51" fmla="*/ 60 h 1592"/>
                <a:gd name="T52" fmla="*/ 4403 w 4944"/>
                <a:gd name="T53" fmla="*/ 0 h 1592"/>
                <a:gd name="T54" fmla="*/ 4025 w 4944"/>
                <a:gd name="T55" fmla="*/ 140 h 1592"/>
                <a:gd name="T56" fmla="*/ 3878 w 4944"/>
                <a:gd name="T57" fmla="*/ 509 h 1592"/>
                <a:gd name="T58" fmla="*/ 3952 w 4944"/>
                <a:gd name="T59" fmla="*/ 766 h 1592"/>
                <a:gd name="T60" fmla="*/ 4151 w 4944"/>
                <a:gd name="T61" fmla="*/ 894 h 1592"/>
                <a:gd name="T62" fmla="*/ 4346 w 4944"/>
                <a:gd name="T63" fmla="*/ 953 h 1592"/>
                <a:gd name="T64" fmla="*/ 4472 w 4944"/>
                <a:gd name="T65" fmla="*/ 1008 h 1592"/>
                <a:gd name="T66" fmla="*/ 4531 w 4944"/>
                <a:gd name="T67" fmla="*/ 1109 h 1592"/>
                <a:gd name="T68" fmla="*/ 4472 w 4944"/>
                <a:gd name="T69" fmla="*/ 1224 h 1592"/>
                <a:gd name="T70" fmla="*/ 4339 w 4944"/>
                <a:gd name="T71" fmla="*/ 1260 h 1592"/>
                <a:gd name="T72" fmla="*/ 4092 w 4944"/>
                <a:gd name="T73" fmla="*/ 1185 h 1592"/>
                <a:gd name="T74" fmla="*/ 3814 w 4944"/>
                <a:gd name="T75" fmla="*/ 1420 h 1592"/>
                <a:gd name="T76" fmla="*/ 4163 w 4944"/>
                <a:gd name="T77" fmla="*/ 1572 h 1592"/>
                <a:gd name="T78" fmla="*/ 4506 w 4944"/>
                <a:gd name="T79" fmla="*/ 1579 h 1592"/>
                <a:gd name="T80" fmla="*/ 4786 w 4944"/>
                <a:gd name="T81" fmla="*/ 1450 h 1592"/>
                <a:gd name="T82" fmla="*/ 4931 w 4944"/>
                <a:gd name="T83" fmla="*/ 1194 h 1592"/>
                <a:gd name="T84" fmla="*/ 4917 w 4944"/>
                <a:gd name="T85" fmla="*/ 885 h 1592"/>
                <a:gd name="T86" fmla="*/ 4717 w 4944"/>
                <a:gd name="T87" fmla="*/ 688 h 1592"/>
                <a:gd name="T88" fmla="*/ 4467 w 4944"/>
                <a:gd name="T89" fmla="*/ 600 h 1592"/>
                <a:gd name="T90" fmla="*/ 4353 w 4944"/>
                <a:gd name="T91" fmla="*/ 555 h 1592"/>
                <a:gd name="T92" fmla="*/ 4291 w 4944"/>
                <a:gd name="T93" fmla="*/ 456 h 1592"/>
                <a:gd name="T94" fmla="*/ 4346 w 4944"/>
                <a:gd name="T95" fmla="*/ 362 h 1592"/>
                <a:gd name="T96" fmla="*/ 4460 w 4944"/>
                <a:gd name="T97" fmla="*/ 330 h 1592"/>
                <a:gd name="T98" fmla="*/ 4724 w 4944"/>
                <a:gd name="T99" fmla="*/ 431 h 15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4944" h="1592">
                  <a:moveTo>
                    <a:pt x="880" y="376"/>
                  </a:moveTo>
                  <a:lnTo>
                    <a:pt x="880" y="41"/>
                  </a:lnTo>
                  <a:lnTo>
                    <a:pt x="0" y="41"/>
                  </a:lnTo>
                  <a:lnTo>
                    <a:pt x="0" y="1553"/>
                  </a:lnTo>
                  <a:lnTo>
                    <a:pt x="396" y="1553"/>
                  </a:lnTo>
                  <a:lnTo>
                    <a:pt x="396" y="960"/>
                  </a:lnTo>
                  <a:lnTo>
                    <a:pt x="832" y="960"/>
                  </a:lnTo>
                  <a:lnTo>
                    <a:pt x="832" y="628"/>
                  </a:lnTo>
                  <a:lnTo>
                    <a:pt x="396" y="628"/>
                  </a:lnTo>
                  <a:lnTo>
                    <a:pt x="396" y="376"/>
                  </a:lnTo>
                  <a:lnTo>
                    <a:pt x="880" y="376"/>
                  </a:lnTo>
                  <a:close/>
                  <a:moveTo>
                    <a:pt x="1923" y="1290"/>
                  </a:moveTo>
                  <a:lnTo>
                    <a:pt x="2026" y="1553"/>
                  </a:lnTo>
                  <a:lnTo>
                    <a:pt x="2448" y="1553"/>
                  </a:lnTo>
                  <a:lnTo>
                    <a:pt x="1873" y="41"/>
                  </a:lnTo>
                  <a:lnTo>
                    <a:pt x="1437" y="41"/>
                  </a:lnTo>
                  <a:lnTo>
                    <a:pt x="851" y="1553"/>
                  </a:lnTo>
                  <a:lnTo>
                    <a:pt x="1272" y="1553"/>
                  </a:lnTo>
                  <a:lnTo>
                    <a:pt x="1378" y="1290"/>
                  </a:lnTo>
                  <a:lnTo>
                    <a:pt x="1923" y="1290"/>
                  </a:lnTo>
                  <a:close/>
                  <a:moveTo>
                    <a:pt x="1818" y="990"/>
                  </a:moveTo>
                  <a:lnTo>
                    <a:pt x="1488" y="990"/>
                  </a:lnTo>
                  <a:lnTo>
                    <a:pt x="1653" y="509"/>
                  </a:lnTo>
                  <a:lnTo>
                    <a:pt x="1655" y="509"/>
                  </a:lnTo>
                  <a:lnTo>
                    <a:pt x="1818" y="990"/>
                  </a:lnTo>
                  <a:close/>
                  <a:moveTo>
                    <a:pt x="2572" y="1553"/>
                  </a:moveTo>
                  <a:lnTo>
                    <a:pt x="2968" y="1553"/>
                  </a:lnTo>
                  <a:lnTo>
                    <a:pt x="2968" y="1052"/>
                  </a:lnTo>
                  <a:lnTo>
                    <a:pt x="3193" y="1052"/>
                  </a:lnTo>
                  <a:cubicBezTo>
                    <a:pt x="3310" y="1054"/>
                    <a:pt x="3409" y="1034"/>
                    <a:pt x="3489" y="999"/>
                  </a:cubicBezTo>
                  <a:cubicBezTo>
                    <a:pt x="3569" y="963"/>
                    <a:pt x="3631" y="908"/>
                    <a:pt x="3672" y="832"/>
                  </a:cubicBezTo>
                  <a:cubicBezTo>
                    <a:pt x="3713" y="754"/>
                    <a:pt x="3734" y="658"/>
                    <a:pt x="3734" y="538"/>
                  </a:cubicBezTo>
                  <a:cubicBezTo>
                    <a:pt x="3734" y="451"/>
                    <a:pt x="3722" y="376"/>
                    <a:pt x="3695" y="314"/>
                  </a:cubicBezTo>
                  <a:cubicBezTo>
                    <a:pt x="3670" y="254"/>
                    <a:pt x="3628" y="199"/>
                    <a:pt x="3580" y="163"/>
                  </a:cubicBezTo>
                  <a:cubicBezTo>
                    <a:pt x="3532" y="119"/>
                    <a:pt x="3473" y="92"/>
                    <a:pt x="3404" y="71"/>
                  </a:cubicBezTo>
                  <a:cubicBezTo>
                    <a:pt x="3338" y="50"/>
                    <a:pt x="3262" y="41"/>
                    <a:pt x="3179" y="41"/>
                  </a:cubicBezTo>
                  <a:lnTo>
                    <a:pt x="2572" y="41"/>
                  </a:lnTo>
                  <a:lnTo>
                    <a:pt x="2572" y="1553"/>
                  </a:lnTo>
                  <a:close/>
                  <a:moveTo>
                    <a:pt x="2968" y="357"/>
                  </a:moveTo>
                  <a:lnTo>
                    <a:pt x="3035" y="357"/>
                  </a:lnTo>
                  <a:cubicBezTo>
                    <a:pt x="3074" y="357"/>
                    <a:pt x="3111" y="360"/>
                    <a:pt x="3145" y="362"/>
                  </a:cubicBezTo>
                  <a:cubicBezTo>
                    <a:pt x="3179" y="364"/>
                    <a:pt x="3212" y="373"/>
                    <a:pt x="3237" y="382"/>
                  </a:cubicBezTo>
                  <a:cubicBezTo>
                    <a:pt x="3262" y="394"/>
                    <a:pt x="3283" y="412"/>
                    <a:pt x="3299" y="442"/>
                  </a:cubicBezTo>
                  <a:cubicBezTo>
                    <a:pt x="3315" y="467"/>
                    <a:pt x="3319" y="504"/>
                    <a:pt x="3324" y="552"/>
                  </a:cubicBezTo>
                  <a:cubicBezTo>
                    <a:pt x="3319" y="598"/>
                    <a:pt x="3315" y="632"/>
                    <a:pt x="3296" y="658"/>
                  </a:cubicBezTo>
                  <a:cubicBezTo>
                    <a:pt x="3280" y="683"/>
                    <a:pt x="3260" y="701"/>
                    <a:pt x="3232" y="713"/>
                  </a:cubicBezTo>
                  <a:cubicBezTo>
                    <a:pt x="3205" y="724"/>
                    <a:pt x="3175" y="729"/>
                    <a:pt x="3140" y="733"/>
                  </a:cubicBezTo>
                  <a:cubicBezTo>
                    <a:pt x="3106" y="736"/>
                    <a:pt x="3072" y="736"/>
                    <a:pt x="3035" y="736"/>
                  </a:cubicBezTo>
                  <a:lnTo>
                    <a:pt x="2968" y="736"/>
                  </a:lnTo>
                  <a:lnTo>
                    <a:pt x="2968" y="357"/>
                  </a:lnTo>
                  <a:close/>
                  <a:moveTo>
                    <a:pt x="4880" y="126"/>
                  </a:moveTo>
                  <a:cubicBezTo>
                    <a:pt x="4837" y="101"/>
                    <a:pt x="4786" y="78"/>
                    <a:pt x="4733" y="60"/>
                  </a:cubicBezTo>
                  <a:cubicBezTo>
                    <a:pt x="4678" y="41"/>
                    <a:pt x="4623" y="25"/>
                    <a:pt x="4566" y="16"/>
                  </a:cubicBezTo>
                  <a:cubicBezTo>
                    <a:pt x="4508" y="7"/>
                    <a:pt x="4456" y="0"/>
                    <a:pt x="4403" y="0"/>
                  </a:cubicBezTo>
                  <a:cubicBezTo>
                    <a:pt x="4325" y="0"/>
                    <a:pt x="4257" y="14"/>
                    <a:pt x="4193" y="39"/>
                  </a:cubicBezTo>
                  <a:cubicBezTo>
                    <a:pt x="4128" y="62"/>
                    <a:pt x="4071" y="94"/>
                    <a:pt x="4025" y="140"/>
                  </a:cubicBezTo>
                  <a:cubicBezTo>
                    <a:pt x="3979" y="185"/>
                    <a:pt x="3943" y="238"/>
                    <a:pt x="3917" y="300"/>
                  </a:cubicBezTo>
                  <a:cubicBezTo>
                    <a:pt x="3890" y="362"/>
                    <a:pt x="3878" y="433"/>
                    <a:pt x="3878" y="509"/>
                  </a:cubicBezTo>
                  <a:cubicBezTo>
                    <a:pt x="3878" y="566"/>
                    <a:pt x="3883" y="619"/>
                    <a:pt x="3897" y="658"/>
                  </a:cubicBezTo>
                  <a:cubicBezTo>
                    <a:pt x="3908" y="701"/>
                    <a:pt x="3927" y="736"/>
                    <a:pt x="3952" y="766"/>
                  </a:cubicBezTo>
                  <a:cubicBezTo>
                    <a:pt x="3975" y="795"/>
                    <a:pt x="4002" y="821"/>
                    <a:pt x="4037" y="841"/>
                  </a:cubicBezTo>
                  <a:cubicBezTo>
                    <a:pt x="4069" y="860"/>
                    <a:pt x="4108" y="878"/>
                    <a:pt x="4151" y="894"/>
                  </a:cubicBezTo>
                  <a:cubicBezTo>
                    <a:pt x="4195" y="908"/>
                    <a:pt x="4241" y="921"/>
                    <a:pt x="4291" y="937"/>
                  </a:cubicBezTo>
                  <a:cubicBezTo>
                    <a:pt x="4307" y="940"/>
                    <a:pt x="4325" y="947"/>
                    <a:pt x="4346" y="953"/>
                  </a:cubicBezTo>
                  <a:cubicBezTo>
                    <a:pt x="4369" y="960"/>
                    <a:pt x="4392" y="965"/>
                    <a:pt x="4412" y="974"/>
                  </a:cubicBezTo>
                  <a:cubicBezTo>
                    <a:pt x="4435" y="983"/>
                    <a:pt x="4454" y="995"/>
                    <a:pt x="4472" y="1008"/>
                  </a:cubicBezTo>
                  <a:cubicBezTo>
                    <a:pt x="4488" y="1020"/>
                    <a:pt x="4502" y="1034"/>
                    <a:pt x="4513" y="1052"/>
                  </a:cubicBezTo>
                  <a:cubicBezTo>
                    <a:pt x="4525" y="1066"/>
                    <a:pt x="4531" y="1086"/>
                    <a:pt x="4531" y="1109"/>
                  </a:cubicBezTo>
                  <a:cubicBezTo>
                    <a:pt x="4531" y="1134"/>
                    <a:pt x="4525" y="1157"/>
                    <a:pt x="4513" y="1178"/>
                  </a:cubicBezTo>
                  <a:cubicBezTo>
                    <a:pt x="4502" y="1196"/>
                    <a:pt x="4488" y="1212"/>
                    <a:pt x="4472" y="1224"/>
                  </a:cubicBezTo>
                  <a:cubicBezTo>
                    <a:pt x="4451" y="1237"/>
                    <a:pt x="4431" y="1244"/>
                    <a:pt x="4408" y="1251"/>
                  </a:cubicBezTo>
                  <a:cubicBezTo>
                    <a:pt x="4385" y="1258"/>
                    <a:pt x="4362" y="1260"/>
                    <a:pt x="4339" y="1260"/>
                  </a:cubicBezTo>
                  <a:cubicBezTo>
                    <a:pt x="4293" y="1260"/>
                    <a:pt x="4250" y="1253"/>
                    <a:pt x="4211" y="1240"/>
                  </a:cubicBezTo>
                  <a:cubicBezTo>
                    <a:pt x="4167" y="1224"/>
                    <a:pt x="4128" y="1208"/>
                    <a:pt x="4092" y="1185"/>
                  </a:cubicBezTo>
                  <a:cubicBezTo>
                    <a:pt x="4055" y="1159"/>
                    <a:pt x="4021" y="1132"/>
                    <a:pt x="3984" y="1105"/>
                  </a:cubicBezTo>
                  <a:lnTo>
                    <a:pt x="3814" y="1420"/>
                  </a:lnTo>
                  <a:cubicBezTo>
                    <a:pt x="3869" y="1457"/>
                    <a:pt x="3922" y="1489"/>
                    <a:pt x="3982" y="1514"/>
                  </a:cubicBezTo>
                  <a:cubicBezTo>
                    <a:pt x="4039" y="1540"/>
                    <a:pt x="4099" y="1560"/>
                    <a:pt x="4163" y="1572"/>
                  </a:cubicBezTo>
                  <a:cubicBezTo>
                    <a:pt x="4225" y="1588"/>
                    <a:pt x="4291" y="1592"/>
                    <a:pt x="4353" y="1592"/>
                  </a:cubicBezTo>
                  <a:cubicBezTo>
                    <a:pt x="4403" y="1592"/>
                    <a:pt x="4456" y="1590"/>
                    <a:pt x="4506" y="1579"/>
                  </a:cubicBezTo>
                  <a:cubicBezTo>
                    <a:pt x="4559" y="1570"/>
                    <a:pt x="4609" y="1553"/>
                    <a:pt x="4655" y="1531"/>
                  </a:cubicBezTo>
                  <a:cubicBezTo>
                    <a:pt x="4704" y="1512"/>
                    <a:pt x="4747" y="1485"/>
                    <a:pt x="4786" y="1450"/>
                  </a:cubicBezTo>
                  <a:cubicBezTo>
                    <a:pt x="4827" y="1416"/>
                    <a:pt x="4860" y="1379"/>
                    <a:pt x="4880" y="1333"/>
                  </a:cubicBezTo>
                  <a:cubicBezTo>
                    <a:pt x="4905" y="1290"/>
                    <a:pt x="4922" y="1244"/>
                    <a:pt x="4931" y="1194"/>
                  </a:cubicBezTo>
                  <a:cubicBezTo>
                    <a:pt x="4942" y="1146"/>
                    <a:pt x="4944" y="1095"/>
                    <a:pt x="4944" y="1045"/>
                  </a:cubicBezTo>
                  <a:cubicBezTo>
                    <a:pt x="4944" y="983"/>
                    <a:pt x="4935" y="931"/>
                    <a:pt x="4917" y="885"/>
                  </a:cubicBezTo>
                  <a:cubicBezTo>
                    <a:pt x="4896" y="841"/>
                    <a:pt x="4871" y="802"/>
                    <a:pt x="4837" y="770"/>
                  </a:cubicBezTo>
                  <a:cubicBezTo>
                    <a:pt x="4802" y="738"/>
                    <a:pt x="4763" y="710"/>
                    <a:pt x="4717" y="688"/>
                  </a:cubicBezTo>
                  <a:cubicBezTo>
                    <a:pt x="4671" y="665"/>
                    <a:pt x="4623" y="646"/>
                    <a:pt x="4568" y="632"/>
                  </a:cubicBezTo>
                  <a:lnTo>
                    <a:pt x="4467" y="600"/>
                  </a:lnTo>
                  <a:cubicBezTo>
                    <a:pt x="4449" y="598"/>
                    <a:pt x="4428" y="589"/>
                    <a:pt x="4410" y="582"/>
                  </a:cubicBezTo>
                  <a:cubicBezTo>
                    <a:pt x="4389" y="573"/>
                    <a:pt x="4369" y="564"/>
                    <a:pt x="4353" y="555"/>
                  </a:cubicBezTo>
                  <a:cubicBezTo>
                    <a:pt x="4334" y="543"/>
                    <a:pt x="4321" y="529"/>
                    <a:pt x="4309" y="513"/>
                  </a:cubicBezTo>
                  <a:cubicBezTo>
                    <a:pt x="4296" y="497"/>
                    <a:pt x="4291" y="479"/>
                    <a:pt x="4291" y="456"/>
                  </a:cubicBezTo>
                  <a:cubicBezTo>
                    <a:pt x="4291" y="438"/>
                    <a:pt x="4296" y="417"/>
                    <a:pt x="4307" y="399"/>
                  </a:cubicBezTo>
                  <a:cubicBezTo>
                    <a:pt x="4318" y="385"/>
                    <a:pt x="4330" y="373"/>
                    <a:pt x="4346" y="362"/>
                  </a:cubicBezTo>
                  <a:cubicBezTo>
                    <a:pt x="4367" y="353"/>
                    <a:pt x="4383" y="343"/>
                    <a:pt x="4403" y="339"/>
                  </a:cubicBezTo>
                  <a:cubicBezTo>
                    <a:pt x="4424" y="332"/>
                    <a:pt x="4442" y="330"/>
                    <a:pt x="4460" y="330"/>
                  </a:cubicBezTo>
                  <a:cubicBezTo>
                    <a:pt x="4508" y="330"/>
                    <a:pt x="4557" y="341"/>
                    <a:pt x="4600" y="357"/>
                  </a:cubicBezTo>
                  <a:cubicBezTo>
                    <a:pt x="4646" y="376"/>
                    <a:pt x="4685" y="399"/>
                    <a:pt x="4724" y="431"/>
                  </a:cubicBezTo>
                  <a:lnTo>
                    <a:pt x="4880" y="12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pic>
        <p:nvPicPr>
          <p:cNvPr id="22" name="Grafik 2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9788" y="5410199"/>
            <a:ext cx="2179589" cy="898525"/>
          </a:xfrm>
          <a:prstGeom prst="rect">
            <a:avLst/>
          </a:prstGeom>
        </p:spPr>
      </p:pic>
      <p:sp>
        <p:nvSpPr>
          <p:cNvPr id="26" name="Datumsplatzhalter 2"/>
          <p:cNvSpPr>
            <a:spLocks noGrp="1"/>
          </p:cNvSpPr>
          <p:nvPr>
            <p:ph type="dt" sz="half" idx="10"/>
          </p:nvPr>
        </p:nvSpPr>
        <p:spPr>
          <a:xfrm>
            <a:off x="9742809" y="6561350"/>
            <a:ext cx="1609404" cy="128280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sz="800"/>
            </a:lvl1pPr>
          </a:lstStyle>
          <a:p>
            <a:pPr>
              <a:defRPr/>
            </a:pPr>
            <a:fld id="{44C02938-741B-4940-95E2-6D6629FDCC91}" type="datetime1">
              <a:rPr lang="de-DE" smtClean="0">
                <a:solidFill>
                  <a:srgbClr val="000000"/>
                </a:solidFill>
              </a:rPr>
              <a:t>12.11.2025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7" name="Foliennummernplatzhalter 4"/>
          <p:cNvSpPr>
            <a:spLocks noGrp="1"/>
          </p:cNvSpPr>
          <p:nvPr>
            <p:ph type="sldNum" sz="quarter" idx="12"/>
          </p:nvPr>
        </p:nvSpPr>
        <p:spPr>
          <a:xfrm>
            <a:off x="11352208" y="6564725"/>
            <a:ext cx="839791" cy="124905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 sz="800"/>
            </a:lvl1pPr>
          </a:lstStyle>
          <a:p>
            <a:pPr>
              <a:defRPr/>
            </a:pPr>
            <a:fld id="{FE11F066-C7D3-4B2D-BC7E-EC0D86AF6BBF}" type="slidenum">
              <a:rPr lang="de-DE" smtClean="0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28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839788" y="6564724"/>
            <a:ext cx="8903021" cy="12490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pPr>
              <a:defRPr/>
            </a:pPr>
            <a:r>
              <a:rPr lang="de-DE">
                <a:solidFill>
                  <a:srgbClr val="000000"/>
                </a:solidFill>
              </a:rPr>
              <a:t>Bearbeiter:In   |   Präsentationsanlass, Kunde, Kooperationspartner, Vorlesung</a:t>
            </a:r>
            <a:endParaRPr lang="de-DE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8355227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>
          <a:xfrm>
            <a:off x="9742809" y="6561350"/>
            <a:ext cx="1609404" cy="128280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sz="800"/>
            </a:lvl1pPr>
          </a:lstStyle>
          <a:p>
            <a:pPr>
              <a:defRPr/>
            </a:pPr>
            <a:fld id="{74AD27AD-BDD0-4C89-AC0C-E73C6A09A427}" type="datetime1">
              <a:rPr lang="de-DE" smtClean="0">
                <a:solidFill>
                  <a:srgbClr val="000000"/>
                </a:solidFill>
              </a:rPr>
              <a:t>12.11.2025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>
          <a:xfrm>
            <a:off x="11352208" y="6564725"/>
            <a:ext cx="839791" cy="124905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 sz="800"/>
            </a:lvl1pPr>
          </a:lstStyle>
          <a:p>
            <a:pPr>
              <a:defRPr/>
            </a:pPr>
            <a:fld id="{FE11F066-C7D3-4B2D-BC7E-EC0D86AF6BBF}" type="slidenum">
              <a:rPr lang="de-DE" smtClean="0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6" name="Titelplatzhalter 1"/>
          <p:cNvSpPr>
            <a:spLocks noGrp="1"/>
          </p:cNvSpPr>
          <p:nvPr>
            <p:ph type="title"/>
          </p:nvPr>
        </p:nvSpPr>
        <p:spPr>
          <a:xfrm>
            <a:off x="839788" y="333375"/>
            <a:ext cx="10303200" cy="50323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8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839788" y="6564724"/>
            <a:ext cx="8903021" cy="12490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pPr>
              <a:defRPr/>
            </a:pPr>
            <a:r>
              <a:rPr lang="de-DE">
                <a:solidFill>
                  <a:srgbClr val="000000"/>
                </a:solidFill>
              </a:rPr>
              <a:t>Bearbeiter:In   |   Präsentationsanlass, Kunde, Kooperationspartner, Vorlesung</a:t>
            </a:r>
            <a:endParaRPr lang="de-DE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591724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96">
          <p15:clr>
            <a:srgbClr val="A4A3A4"/>
          </p15:clr>
        </p15:guide>
        <p15:guide id="2" orient="horz" pos="2478">
          <p15:clr>
            <a:srgbClr val="A4A3A4"/>
          </p15:clr>
        </p15:guide>
        <p15:guide id="3" orient="horz" pos="2387">
          <p15:clr>
            <a:srgbClr val="A4A3A4"/>
          </p15:clr>
        </p15:guide>
        <p15:guide id="4" pos="3840">
          <p15:clr>
            <a:srgbClr val="A4A3A4"/>
          </p15:clr>
        </p15:guide>
        <p15:guide id="6" pos="3749">
          <p15:clr>
            <a:srgbClr val="A4A3A4"/>
          </p15:clr>
        </p15:guide>
        <p15:guide id="7" orient="horz" pos="527">
          <p15:clr>
            <a:srgbClr val="A4A3A4"/>
          </p15:clr>
        </p15:guide>
        <p15:guide id="8" orient="horz" pos="799">
          <p15:clr>
            <a:srgbClr val="A4A3A4"/>
          </p15:clr>
        </p15:guide>
        <p15:guide id="9" pos="2797">
          <p15:clr>
            <a:srgbClr val="FBAE40"/>
          </p15:clr>
        </p15:guide>
        <p15:guide id="10" pos="3931">
          <p15:clr>
            <a:srgbClr val="A4A3A4"/>
          </p15:clr>
        </p15:guide>
        <p15:guide id="11" pos="2615">
          <p15:clr>
            <a:srgbClr val="FBAE40"/>
          </p15:clr>
        </p15:guide>
        <p15:guide id="12" pos="2230" userDrawn="1">
          <p15:clr>
            <a:srgbClr val="5ACBF0"/>
          </p15:clr>
        </p15:guide>
        <p15:guide id="13" pos="2048" userDrawn="1">
          <p15:clr>
            <a:srgbClr val="5ACBF0"/>
          </p15:clr>
        </p15:guide>
        <p15:guide id="14" pos="4883">
          <p15:clr>
            <a:srgbClr val="FBAE40"/>
          </p15:clr>
        </p15:guide>
        <p15:guide id="15" pos="5065">
          <p15:clr>
            <a:srgbClr val="FBAE40"/>
          </p15:clr>
        </p15:guide>
        <p15:guide id="16" pos="5450" userDrawn="1">
          <p15:clr>
            <a:srgbClr val="5ACBF0"/>
          </p15:clr>
        </p15:guide>
        <p15:guide id="17" pos="5632" userDrawn="1">
          <p15:clr>
            <a:srgbClr val="5ACBF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nweisung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9" name="Textfeld 198"/>
          <p:cNvSpPr txBox="1"/>
          <p:nvPr userDrawn="1"/>
        </p:nvSpPr>
        <p:spPr>
          <a:xfrm>
            <a:off x="839788" y="333375"/>
            <a:ext cx="10303625" cy="50323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buClr>
                <a:srgbClr val="97C139"/>
              </a:buClr>
            </a:pPr>
            <a:r>
              <a:rPr lang="de-DE" sz="1800" b="1" dirty="0">
                <a:latin typeface="+mj-lt"/>
              </a:rPr>
              <a:t>Die Einhaltung der PowerPoint-Anweisungen ermöglicht die Erstellung qualitativ </a:t>
            </a:r>
            <a:br>
              <a:rPr lang="de-DE" sz="1800" b="1" dirty="0">
                <a:latin typeface="+mj-lt"/>
              </a:rPr>
            </a:br>
            <a:r>
              <a:rPr lang="de-DE" sz="1800" b="1" dirty="0">
                <a:latin typeface="+mj-lt"/>
              </a:rPr>
              <a:t>hochwertiger Folien, um Forschungsergebnisse angemessen repräsentieren zu können.</a:t>
            </a:r>
          </a:p>
        </p:txBody>
      </p:sp>
      <p:sp>
        <p:nvSpPr>
          <p:cNvPr id="102" name="Rechteck 101"/>
          <p:cNvSpPr/>
          <p:nvPr userDrawn="1"/>
        </p:nvSpPr>
        <p:spPr>
          <a:xfrm>
            <a:off x="11143413" y="0"/>
            <a:ext cx="1048586" cy="1045413"/>
          </a:xfrm>
          <a:prstGeom prst="rect">
            <a:avLst/>
          </a:prstGeom>
          <a:solidFill>
            <a:srgbClr val="F5821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6000" tIns="18000" rIns="18000" bIns="1800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rgbClr val="97C139"/>
              </a:buClr>
            </a:pP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29" name="Textfeld 28"/>
          <p:cNvSpPr txBox="1"/>
          <p:nvPr userDrawn="1"/>
        </p:nvSpPr>
        <p:spPr>
          <a:xfrm>
            <a:off x="-432048" y="3795891"/>
            <a:ext cx="335360" cy="2639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de-DE" dirty="0"/>
              <a:t>0,4</a:t>
            </a:r>
          </a:p>
        </p:txBody>
      </p:sp>
      <p:sp>
        <p:nvSpPr>
          <p:cNvPr id="30" name="Textfeld 29"/>
          <p:cNvSpPr txBox="1"/>
          <p:nvPr userDrawn="1"/>
        </p:nvSpPr>
        <p:spPr>
          <a:xfrm>
            <a:off x="-436123" y="3493909"/>
            <a:ext cx="335360" cy="2639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de-DE" dirty="0"/>
              <a:t>0,4</a:t>
            </a:r>
          </a:p>
        </p:txBody>
      </p:sp>
      <p:sp>
        <p:nvSpPr>
          <p:cNvPr id="31" name="Textfeld 30"/>
          <p:cNvSpPr txBox="1"/>
          <p:nvPr userDrawn="1"/>
        </p:nvSpPr>
        <p:spPr>
          <a:xfrm>
            <a:off x="-432048" y="6176764"/>
            <a:ext cx="335360" cy="2639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de-DE" dirty="0"/>
              <a:t>7,0</a:t>
            </a:r>
          </a:p>
        </p:txBody>
      </p:sp>
      <p:sp>
        <p:nvSpPr>
          <p:cNvPr id="32" name="Textfeld 31"/>
          <p:cNvSpPr txBox="1"/>
          <p:nvPr userDrawn="1"/>
        </p:nvSpPr>
        <p:spPr>
          <a:xfrm>
            <a:off x="-432048" y="200697"/>
            <a:ext cx="335360" cy="2639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de-DE" dirty="0"/>
              <a:t>9,6</a:t>
            </a:r>
          </a:p>
        </p:txBody>
      </p:sp>
      <p:sp>
        <p:nvSpPr>
          <p:cNvPr id="33" name="Textfeld 32"/>
          <p:cNvSpPr txBox="1"/>
          <p:nvPr userDrawn="1"/>
        </p:nvSpPr>
        <p:spPr>
          <a:xfrm>
            <a:off x="-432048" y="704654"/>
            <a:ext cx="335360" cy="2639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de-DE" dirty="0"/>
              <a:t>8,2</a:t>
            </a:r>
          </a:p>
        </p:txBody>
      </p:sp>
      <p:sp>
        <p:nvSpPr>
          <p:cNvPr id="34" name="Textfeld 33"/>
          <p:cNvSpPr txBox="1"/>
          <p:nvPr userDrawn="1"/>
        </p:nvSpPr>
        <p:spPr>
          <a:xfrm>
            <a:off x="-432048" y="1136454"/>
            <a:ext cx="335360" cy="2639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de-DE" dirty="0"/>
              <a:t>7,0</a:t>
            </a:r>
          </a:p>
        </p:txBody>
      </p:sp>
      <p:sp>
        <p:nvSpPr>
          <p:cNvPr id="35" name="Textfeld 34"/>
          <p:cNvSpPr txBox="1"/>
          <p:nvPr userDrawn="1"/>
        </p:nvSpPr>
        <p:spPr>
          <a:xfrm>
            <a:off x="5783858" y="-355680"/>
            <a:ext cx="335360" cy="2639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de-DE" dirty="0"/>
              <a:t>0,4</a:t>
            </a:r>
          </a:p>
        </p:txBody>
      </p:sp>
      <p:sp>
        <p:nvSpPr>
          <p:cNvPr id="36" name="Textfeld 35"/>
          <p:cNvSpPr txBox="1"/>
          <p:nvPr userDrawn="1"/>
        </p:nvSpPr>
        <p:spPr>
          <a:xfrm>
            <a:off x="6119218" y="-355680"/>
            <a:ext cx="335360" cy="2639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de-DE" dirty="0"/>
              <a:t>0,4</a:t>
            </a:r>
          </a:p>
        </p:txBody>
      </p:sp>
      <p:sp>
        <p:nvSpPr>
          <p:cNvPr id="37" name="Textfeld 36"/>
          <p:cNvSpPr txBox="1"/>
          <p:nvPr userDrawn="1"/>
        </p:nvSpPr>
        <p:spPr>
          <a:xfrm>
            <a:off x="5928320" y="-670643"/>
            <a:ext cx="335360" cy="2639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de-DE" dirty="0"/>
              <a:t>0,0</a:t>
            </a:r>
          </a:p>
        </p:txBody>
      </p:sp>
      <p:sp>
        <p:nvSpPr>
          <p:cNvPr id="38" name="Textfeld 37"/>
          <p:cNvSpPr txBox="1"/>
          <p:nvPr userDrawn="1"/>
        </p:nvSpPr>
        <p:spPr>
          <a:xfrm>
            <a:off x="636084" y="-358463"/>
            <a:ext cx="455340" cy="2639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de-DE" dirty="0"/>
              <a:t>14,6</a:t>
            </a:r>
          </a:p>
        </p:txBody>
      </p:sp>
      <p:sp>
        <p:nvSpPr>
          <p:cNvPr id="39" name="Textfeld 38"/>
          <p:cNvSpPr txBox="1"/>
          <p:nvPr userDrawn="1"/>
        </p:nvSpPr>
        <p:spPr>
          <a:xfrm>
            <a:off x="11098502" y="-358463"/>
            <a:ext cx="507411" cy="2639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de-DE" dirty="0"/>
              <a:t>14,6</a:t>
            </a:r>
          </a:p>
        </p:txBody>
      </p:sp>
      <p:sp>
        <p:nvSpPr>
          <p:cNvPr id="52" name="Textfeld 51"/>
          <p:cNvSpPr txBox="1"/>
          <p:nvPr userDrawn="1"/>
        </p:nvSpPr>
        <p:spPr>
          <a:xfrm>
            <a:off x="2866093" y="-414229"/>
            <a:ext cx="385107" cy="2639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/>
            <a:r>
              <a:rPr lang="de-DE" dirty="0"/>
              <a:t>7,9</a:t>
            </a:r>
          </a:p>
        </p:txBody>
      </p:sp>
      <p:sp>
        <p:nvSpPr>
          <p:cNvPr id="53" name="Textfeld 52"/>
          <p:cNvSpPr txBox="1"/>
          <p:nvPr userDrawn="1"/>
        </p:nvSpPr>
        <p:spPr>
          <a:xfrm>
            <a:off x="8262018" y="-450233"/>
            <a:ext cx="385107" cy="2639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/>
            <a:r>
              <a:rPr lang="de-DE" dirty="0"/>
              <a:t>7,1</a:t>
            </a:r>
          </a:p>
        </p:txBody>
      </p:sp>
      <p:sp>
        <p:nvSpPr>
          <p:cNvPr id="54" name="Textfeld 53"/>
          <p:cNvSpPr txBox="1"/>
          <p:nvPr userDrawn="1"/>
        </p:nvSpPr>
        <p:spPr>
          <a:xfrm>
            <a:off x="3540125" y="-406725"/>
            <a:ext cx="385107" cy="2639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l"/>
            <a:r>
              <a:rPr lang="de-DE" dirty="0"/>
              <a:t>7,1</a:t>
            </a:r>
          </a:p>
        </p:txBody>
      </p:sp>
      <p:sp>
        <p:nvSpPr>
          <p:cNvPr id="55" name="Textfeld 54"/>
          <p:cNvSpPr txBox="1"/>
          <p:nvPr userDrawn="1"/>
        </p:nvSpPr>
        <p:spPr>
          <a:xfrm>
            <a:off x="4440238" y="-416250"/>
            <a:ext cx="389433" cy="2639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l"/>
            <a:r>
              <a:rPr lang="de-DE" dirty="0"/>
              <a:t>4,6</a:t>
            </a:r>
          </a:p>
        </p:txBody>
      </p:sp>
      <p:sp>
        <p:nvSpPr>
          <p:cNvPr id="56" name="Textfeld 55"/>
          <p:cNvSpPr txBox="1"/>
          <p:nvPr userDrawn="1"/>
        </p:nvSpPr>
        <p:spPr>
          <a:xfrm>
            <a:off x="8040688" y="-450233"/>
            <a:ext cx="400491" cy="2639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l"/>
            <a:r>
              <a:rPr lang="de-DE" dirty="0"/>
              <a:t>5,4</a:t>
            </a:r>
          </a:p>
        </p:txBody>
      </p:sp>
      <p:sp>
        <p:nvSpPr>
          <p:cNvPr id="57" name="Textfeld 56"/>
          <p:cNvSpPr txBox="1"/>
          <p:nvPr userDrawn="1"/>
        </p:nvSpPr>
        <p:spPr>
          <a:xfrm>
            <a:off x="3761455" y="-406725"/>
            <a:ext cx="385107" cy="2639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/>
            <a:r>
              <a:rPr lang="de-DE" dirty="0"/>
              <a:t>5,4</a:t>
            </a:r>
          </a:p>
        </p:txBody>
      </p:sp>
      <p:sp>
        <p:nvSpPr>
          <p:cNvPr id="58" name="Textfeld 57"/>
          <p:cNvSpPr txBox="1"/>
          <p:nvPr userDrawn="1"/>
        </p:nvSpPr>
        <p:spPr>
          <a:xfrm>
            <a:off x="8940800" y="-450233"/>
            <a:ext cx="400491" cy="2639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l"/>
            <a:r>
              <a:rPr lang="de-DE" dirty="0"/>
              <a:t>7,9</a:t>
            </a:r>
          </a:p>
        </p:txBody>
      </p:sp>
      <p:sp>
        <p:nvSpPr>
          <p:cNvPr id="59" name="Textfeld 58"/>
          <p:cNvSpPr txBox="1"/>
          <p:nvPr userDrawn="1"/>
        </p:nvSpPr>
        <p:spPr>
          <a:xfrm>
            <a:off x="7371836" y="-450233"/>
            <a:ext cx="385107" cy="2639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/>
            <a:r>
              <a:rPr lang="de-DE" dirty="0"/>
              <a:t>4,6</a:t>
            </a:r>
          </a:p>
        </p:txBody>
      </p:sp>
      <p:sp>
        <p:nvSpPr>
          <p:cNvPr id="60" name="Textfeld 59"/>
          <p:cNvSpPr txBox="1"/>
          <p:nvPr userDrawn="1"/>
        </p:nvSpPr>
        <p:spPr>
          <a:xfrm>
            <a:off x="-779643" y="3644900"/>
            <a:ext cx="335360" cy="2639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de-DE" dirty="0"/>
              <a:t>0,0</a:t>
            </a:r>
          </a:p>
        </p:txBody>
      </p:sp>
      <p:sp>
        <p:nvSpPr>
          <p:cNvPr id="94" name="Rechteck 93"/>
          <p:cNvSpPr/>
          <p:nvPr userDrawn="1"/>
        </p:nvSpPr>
        <p:spPr>
          <a:xfrm>
            <a:off x="839788" y="7036841"/>
            <a:ext cx="2411412" cy="156101"/>
          </a:xfrm>
          <a:prstGeom prst="rect">
            <a:avLst/>
          </a:prstGeom>
          <a:solidFill>
            <a:srgbClr val="97C13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rgbClr val="97C139"/>
              </a:buClr>
            </a:pP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95" name="Rechteck 94"/>
          <p:cNvSpPr/>
          <p:nvPr userDrawn="1"/>
        </p:nvSpPr>
        <p:spPr>
          <a:xfrm>
            <a:off x="3540125" y="7036841"/>
            <a:ext cx="2411412" cy="156101"/>
          </a:xfrm>
          <a:prstGeom prst="rect">
            <a:avLst/>
          </a:prstGeom>
          <a:solidFill>
            <a:srgbClr val="97C13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rgbClr val="97C139"/>
              </a:buClr>
            </a:pP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96" name="Rechteck 95"/>
          <p:cNvSpPr/>
          <p:nvPr userDrawn="1"/>
        </p:nvSpPr>
        <p:spPr>
          <a:xfrm>
            <a:off x="6240463" y="7036841"/>
            <a:ext cx="2411411" cy="156101"/>
          </a:xfrm>
          <a:prstGeom prst="rect">
            <a:avLst/>
          </a:prstGeom>
          <a:solidFill>
            <a:srgbClr val="97C13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rgbClr val="97C139"/>
              </a:buClr>
            </a:pP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97" name="Rechteck 96"/>
          <p:cNvSpPr/>
          <p:nvPr userDrawn="1"/>
        </p:nvSpPr>
        <p:spPr>
          <a:xfrm>
            <a:off x="8940800" y="7036841"/>
            <a:ext cx="2412999" cy="156101"/>
          </a:xfrm>
          <a:prstGeom prst="rect">
            <a:avLst/>
          </a:prstGeom>
          <a:solidFill>
            <a:srgbClr val="97C13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rgbClr val="97C139"/>
              </a:buClr>
            </a:pP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98" name="Rechteck 97"/>
          <p:cNvSpPr/>
          <p:nvPr userDrawn="1"/>
        </p:nvSpPr>
        <p:spPr>
          <a:xfrm>
            <a:off x="839788" y="7232595"/>
            <a:ext cx="3311525" cy="156101"/>
          </a:xfrm>
          <a:prstGeom prst="rect">
            <a:avLst/>
          </a:prstGeom>
          <a:solidFill>
            <a:srgbClr val="97C13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rgbClr val="97C139"/>
              </a:buClr>
            </a:pP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99" name="Rechteck 98"/>
          <p:cNvSpPr/>
          <p:nvPr userDrawn="1"/>
        </p:nvSpPr>
        <p:spPr>
          <a:xfrm>
            <a:off x="4440237" y="7232967"/>
            <a:ext cx="3312000" cy="156101"/>
          </a:xfrm>
          <a:prstGeom prst="rect">
            <a:avLst/>
          </a:prstGeom>
          <a:solidFill>
            <a:srgbClr val="97C13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rgbClr val="97C139"/>
              </a:buClr>
            </a:pP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100" name="Rechteck 99"/>
          <p:cNvSpPr/>
          <p:nvPr userDrawn="1"/>
        </p:nvSpPr>
        <p:spPr>
          <a:xfrm>
            <a:off x="8040688" y="7232967"/>
            <a:ext cx="3312000" cy="156101"/>
          </a:xfrm>
          <a:prstGeom prst="rect">
            <a:avLst/>
          </a:prstGeom>
          <a:solidFill>
            <a:srgbClr val="97C13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rgbClr val="97C139"/>
              </a:buClr>
            </a:pP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4" name="Rechteck 3"/>
          <p:cNvSpPr/>
          <p:nvPr userDrawn="1"/>
        </p:nvSpPr>
        <p:spPr>
          <a:xfrm>
            <a:off x="11143413" y="0"/>
            <a:ext cx="208800" cy="1045413"/>
          </a:xfrm>
          <a:prstGeom prst="rect">
            <a:avLst/>
          </a:prstGeom>
          <a:solidFill>
            <a:srgbClr val="F5821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" wrap="square" lIns="18000" tIns="18000" rIns="18000" bIns="1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rgbClr val="97C139"/>
              </a:buClr>
            </a:pPr>
            <a:r>
              <a:rPr lang="de-DE" dirty="0">
                <a:solidFill>
                  <a:schemeClr val="tx1"/>
                </a:solidFill>
              </a:rPr>
              <a:t>Schutz</a:t>
            </a:r>
          </a:p>
        </p:txBody>
      </p:sp>
      <p:grpSp>
        <p:nvGrpSpPr>
          <p:cNvPr id="82" name="Gruppieren 81">
            <a:extLst>
              <a:ext uri="{FF2B5EF4-FFF2-40B4-BE49-F238E27FC236}">
                <a16:creationId xmlns:a16="http://schemas.microsoft.com/office/drawing/2014/main" id="{A076367C-AB7D-479E-A208-D24657615421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1352207" y="1"/>
            <a:ext cx="841253" cy="841253"/>
            <a:chOff x="5757863" y="1597025"/>
            <a:chExt cx="1971675" cy="1971675"/>
          </a:xfrm>
        </p:grpSpPr>
        <p:sp>
          <p:nvSpPr>
            <p:cNvPr id="88" name="AutoShape 61">
              <a:extLst>
                <a:ext uri="{FF2B5EF4-FFF2-40B4-BE49-F238E27FC236}">
                  <a16:creationId xmlns:a16="http://schemas.microsoft.com/office/drawing/2014/main" id="{021B169B-3729-4188-95EC-DF427B093B39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5757863" y="1597025"/>
              <a:ext cx="1971675" cy="19716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1" name="Rectangle 63">
              <a:extLst>
                <a:ext uri="{FF2B5EF4-FFF2-40B4-BE49-F238E27FC236}">
                  <a16:creationId xmlns:a16="http://schemas.microsoft.com/office/drawing/2014/main" id="{DD3B038C-AB66-4A83-B4D7-6C3B1E091CD3}"/>
                </a:ext>
              </a:extLst>
            </p:cNvPr>
            <p:cNvSpPr>
              <a:spLocks noChangeAspect="1" noChangeArrowheads="1"/>
            </p:cNvSpPr>
            <p:nvPr/>
          </p:nvSpPr>
          <p:spPr bwMode="auto">
            <a:xfrm>
              <a:off x="5757863" y="1597025"/>
              <a:ext cx="1971675" cy="1971675"/>
            </a:xfrm>
            <a:prstGeom prst="rect">
              <a:avLst/>
            </a:prstGeom>
            <a:solidFill>
              <a:srgbClr val="97C139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1" name="Freeform 64">
              <a:extLst>
                <a:ext uri="{FF2B5EF4-FFF2-40B4-BE49-F238E27FC236}">
                  <a16:creationId xmlns:a16="http://schemas.microsoft.com/office/drawing/2014/main" id="{A3EC7AD9-EFD9-4A37-9183-4C02724C53E0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5865813" y="1795463"/>
              <a:ext cx="1785938" cy="576263"/>
            </a:xfrm>
            <a:custGeom>
              <a:avLst/>
              <a:gdLst>
                <a:gd name="T0" fmla="*/ 880 w 4944"/>
                <a:gd name="T1" fmla="*/ 41 h 1592"/>
                <a:gd name="T2" fmla="*/ 0 w 4944"/>
                <a:gd name="T3" fmla="*/ 1553 h 1592"/>
                <a:gd name="T4" fmla="*/ 396 w 4944"/>
                <a:gd name="T5" fmla="*/ 960 h 1592"/>
                <a:gd name="T6" fmla="*/ 832 w 4944"/>
                <a:gd name="T7" fmla="*/ 628 h 1592"/>
                <a:gd name="T8" fmla="*/ 396 w 4944"/>
                <a:gd name="T9" fmla="*/ 376 h 1592"/>
                <a:gd name="T10" fmla="*/ 1923 w 4944"/>
                <a:gd name="T11" fmla="*/ 1290 h 1592"/>
                <a:gd name="T12" fmla="*/ 2448 w 4944"/>
                <a:gd name="T13" fmla="*/ 1553 h 1592"/>
                <a:gd name="T14" fmla="*/ 1437 w 4944"/>
                <a:gd name="T15" fmla="*/ 41 h 1592"/>
                <a:gd name="T16" fmla="*/ 1272 w 4944"/>
                <a:gd name="T17" fmla="*/ 1553 h 1592"/>
                <a:gd name="T18" fmla="*/ 1923 w 4944"/>
                <a:gd name="T19" fmla="*/ 1290 h 1592"/>
                <a:gd name="T20" fmla="*/ 1488 w 4944"/>
                <a:gd name="T21" fmla="*/ 990 h 1592"/>
                <a:gd name="T22" fmla="*/ 1655 w 4944"/>
                <a:gd name="T23" fmla="*/ 509 h 1592"/>
                <a:gd name="T24" fmla="*/ 2572 w 4944"/>
                <a:gd name="T25" fmla="*/ 1553 h 1592"/>
                <a:gd name="T26" fmla="*/ 2968 w 4944"/>
                <a:gd name="T27" fmla="*/ 1052 h 1592"/>
                <a:gd name="T28" fmla="*/ 3489 w 4944"/>
                <a:gd name="T29" fmla="*/ 999 h 1592"/>
                <a:gd name="T30" fmla="*/ 3734 w 4944"/>
                <a:gd name="T31" fmla="*/ 538 h 1592"/>
                <a:gd name="T32" fmla="*/ 3580 w 4944"/>
                <a:gd name="T33" fmla="*/ 163 h 1592"/>
                <a:gd name="T34" fmla="*/ 3179 w 4944"/>
                <a:gd name="T35" fmla="*/ 41 h 1592"/>
                <a:gd name="T36" fmla="*/ 2572 w 4944"/>
                <a:gd name="T37" fmla="*/ 1553 h 1592"/>
                <a:gd name="T38" fmla="*/ 3035 w 4944"/>
                <a:gd name="T39" fmla="*/ 357 h 1592"/>
                <a:gd name="T40" fmla="*/ 3237 w 4944"/>
                <a:gd name="T41" fmla="*/ 382 h 1592"/>
                <a:gd name="T42" fmla="*/ 3324 w 4944"/>
                <a:gd name="T43" fmla="*/ 552 h 1592"/>
                <a:gd name="T44" fmla="*/ 3232 w 4944"/>
                <a:gd name="T45" fmla="*/ 713 h 1592"/>
                <a:gd name="T46" fmla="*/ 3035 w 4944"/>
                <a:gd name="T47" fmla="*/ 736 h 1592"/>
                <a:gd name="T48" fmla="*/ 2968 w 4944"/>
                <a:gd name="T49" fmla="*/ 357 h 1592"/>
                <a:gd name="T50" fmla="*/ 4733 w 4944"/>
                <a:gd name="T51" fmla="*/ 60 h 1592"/>
                <a:gd name="T52" fmla="*/ 4403 w 4944"/>
                <a:gd name="T53" fmla="*/ 0 h 1592"/>
                <a:gd name="T54" fmla="*/ 4025 w 4944"/>
                <a:gd name="T55" fmla="*/ 140 h 1592"/>
                <a:gd name="T56" fmla="*/ 3878 w 4944"/>
                <a:gd name="T57" fmla="*/ 509 h 1592"/>
                <a:gd name="T58" fmla="*/ 3952 w 4944"/>
                <a:gd name="T59" fmla="*/ 766 h 1592"/>
                <a:gd name="T60" fmla="*/ 4151 w 4944"/>
                <a:gd name="T61" fmla="*/ 894 h 1592"/>
                <a:gd name="T62" fmla="*/ 4346 w 4944"/>
                <a:gd name="T63" fmla="*/ 953 h 1592"/>
                <a:gd name="T64" fmla="*/ 4472 w 4944"/>
                <a:gd name="T65" fmla="*/ 1008 h 1592"/>
                <a:gd name="T66" fmla="*/ 4531 w 4944"/>
                <a:gd name="T67" fmla="*/ 1109 h 1592"/>
                <a:gd name="T68" fmla="*/ 4472 w 4944"/>
                <a:gd name="T69" fmla="*/ 1224 h 1592"/>
                <a:gd name="T70" fmla="*/ 4339 w 4944"/>
                <a:gd name="T71" fmla="*/ 1260 h 1592"/>
                <a:gd name="T72" fmla="*/ 4092 w 4944"/>
                <a:gd name="T73" fmla="*/ 1185 h 1592"/>
                <a:gd name="T74" fmla="*/ 3814 w 4944"/>
                <a:gd name="T75" fmla="*/ 1420 h 1592"/>
                <a:gd name="T76" fmla="*/ 4163 w 4944"/>
                <a:gd name="T77" fmla="*/ 1572 h 1592"/>
                <a:gd name="T78" fmla="*/ 4506 w 4944"/>
                <a:gd name="T79" fmla="*/ 1579 h 1592"/>
                <a:gd name="T80" fmla="*/ 4786 w 4944"/>
                <a:gd name="T81" fmla="*/ 1450 h 1592"/>
                <a:gd name="T82" fmla="*/ 4931 w 4944"/>
                <a:gd name="T83" fmla="*/ 1194 h 1592"/>
                <a:gd name="T84" fmla="*/ 4917 w 4944"/>
                <a:gd name="T85" fmla="*/ 885 h 1592"/>
                <a:gd name="T86" fmla="*/ 4717 w 4944"/>
                <a:gd name="T87" fmla="*/ 688 h 1592"/>
                <a:gd name="T88" fmla="*/ 4467 w 4944"/>
                <a:gd name="T89" fmla="*/ 600 h 1592"/>
                <a:gd name="T90" fmla="*/ 4353 w 4944"/>
                <a:gd name="T91" fmla="*/ 555 h 1592"/>
                <a:gd name="T92" fmla="*/ 4291 w 4944"/>
                <a:gd name="T93" fmla="*/ 456 h 1592"/>
                <a:gd name="T94" fmla="*/ 4346 w 4944"/>
                <a:gd name="T95" fmla="*/ 362 h 1592"/>
                <a:gd name="T96" fmla="*/ 4460 w 4944"/>
                <a:gd name="T97" fmla="*/ 330 h 1592"/>
                <a:gd name="T98" fmla="*/ 4724 w 4944"/>
                <a:gd name="T99" fmla="*/ 431 h 15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4944" h="1592">
                  <a:moveTo>
                    <a:pt x="880" y="376"/>
                  </a:moveTo>
                  <a:lnTo>
                    <a:pt x="880" y="41"/>
                  </a:lnTo>
                  <a:lnTo>
                    <a:pt x="0" y="41"/>
                  </a:lnTo>
                  <a:lnTo>
                    <a:pt x="0" y="1553"/>
                  </a:lnTo>
                  <a:lnTo>
                    <a:pt x="396" y="1553"/>
                  </a:lnTo>
                  <a:lnTo>
                    <a:pt x="396" y="960"/>
                  </a:lnTo>
                  <a:lnTo>
                    <a:pt x="832" y="960"/>
                  </a:lnTo>
                  <a:lnTo>
                    <a:pt x="832" y="628"/>
                  </a:lnTo>
                  <a:lnTo>
                    <a:pt x="396" y="628"/>
                  </a:lnTo>
                  <a:lnTo>
                    <a:pt x="396" y="376"/>
                  </a:lnTo>
                  <a:lnTo>
                    <a:pt x="880" y="376"/>
                  </a:lnTo>
                  <a:close/>
                  <a:moveTo>
                    <a:pt x="1923" y="1290"/>
                  </a:moveTo>
                  <a:lnTo>
                    <a:pt x="2026" y="1553"/>
                  </a:lnTo>
                  <a:lnTo>
                    <a:pt x="2448" y="1553"/>
                  </a:lnTo>
                  <a:lnTo>
                    <a:pt x="1873" y="41"/>
                  </a:lnTo>
                  <a:lnTo>
                    <a:pt x="1437" y="41"/>
                  </a:lnTo>
                  <a:lnTo>
                    <a:pt x="851" y="1553"/>
                  </a:lnTo>
                  <a:lnTo>
                    <a:pt x="1272" y="1553"/>
                  </a:lnTo>
                  <a:lnTo>
                    <a:pt x="1378" y="1290"/>
                  </a:lnTo>
                  <a:lnTo>
                    <a:pt x="1923" y="1290"/>
                  </a:lnTo>
                  <a:close/>
                  <a:moveTo>
                    <a:pt x="1818" y="990"/>
                  </a:moveTo>
                  <a:lnTo>
                    <a:pt x="1488" y="990"/>
                  </a:lnTo>
                  <a:lnTo>
                    <a:pt x="1653" y="509"/>
                  </a:lnTo>
                  <a:lnTo>
                    <a:pt x="1655" y="509"/>
                  </a:lnTo>
                  <a:lnTo>
                    <a:pt x="1818" y="990"/>
                  </a:lnTo>
                  <a:close/>
                  <a:moveTo>
                    <a:pt x="2572" y="1553"/>
                  </a:moveTo>
                  <a:lnTo>
                    <a:pt x="2968" y="1553"/>
                  </a:lnTo>
                  <a:lnTo>
                    <a:pt x="2968" y="1052"/>
                  </a:lnTo>
                  <a:lnTo>
                    <a:pt x="3193" y="1052"/>
                  </a:lnTo>
                  <a:cubicBezTo>
                    <a:pt x="3310" y="1054"/>
                    <a:pt x="3409" y="1034"/>
                    <a:pt x="3489" y="999"/>
                  </a:cubicBezTo>
                  <a:cubicBezTo>
                    <a:pt x="3569" y="963"/>
                    <a:pt x="3631" y="908"/>
                    <a:pt x="3672" y="832"/>
                  </a:cubicBezTo>
                  <a:cubicBezTo>
                    <a:pt x="3713" y="754"/>
                    <a:pt x="3734" y="658"/>
                    <a:pt x="3734" y="538"/>
                  </a:cubicBezTo>
                  <a:cubicBezTo>
                    <a:pt x="3734" y="451"/>
                    <a:pt x="3722" y="376"/>
                    <a:pt x="3695" y="314"/>
                  </a:cubicBezTo>
                  <a:cubicBezTo>
                    <a:pt x="3670" y="254"/>
                    <a:pt x="3628" y="199"/>
                    <a:pt x="3580" y="163"/>
                  </a:cubicBezTo>
                  <a:cubicBezTo>
                    <a:pt x="3532" y="119"/>
                    <a:pt x="3473" y="92"/>
                    <a:pt x="3404" y="71"/>
                  </a:cubicBezTo>
                  <a:cubicBezTo>
                    <a:pt x="3338" y="50"/>
                    <a:pt x="3262" y="41"/>
                    <a:pt x="3179" y="41"/>
                  </a:cubicBezTo>
                  <a:lnTo>
                    <a:pt x="2572" y="41"/>
                  </a:lnTo>
                  <a:lnTo>
                    <a:pt x="2572" y="1553"/>
                  </a:lnTo>
                  <a:close/>
                  <a:moveTo>
                    <a:pt x="2968" y="357"/>
                  </a:moveTo>
                  <a:lnTo>
                    <a:pt x="3035" y="357"/>
                  </a:lnTo>
                  <a:cubicBezTo>
                    <a:pt x="3074" y="357"/>
                    <a:pt x="3111" y="360"/>
                    <a:pt x="3145" y="362"/>
                  </a:cubicBezTo>
                  <a:cubicBezTo>
                    <a:pt x="3179" y="364"/>
                    <a:pt x="3212" y="373"/>
                    <a:pt x="3237" y="382"/>
                  </a:cubicBezTo>
                  <a:cubicBezTo>
                    <a:pt x="3262" y="394"/>
                    <a:pt x="3283" y="412"/>
                    <a:pt x="3299" y="442"/>
                  </a:cubicBezTo>
                  <a:cubicBezTo>
                    <a:pt x="3315" y="467"/>
                    <a:pt x="3319" y="504"/>
                    <a:pt x="3324" y="552"/>
                  </a:cubicBezTo>
                  <a:cubicBezTo>
                    <a:pt x="3319" y="598"/>
                    <a:pt x="3315" y="632"/>
                    <a:pt x="3296" y="658"/>
                  </a:cubicBezTo>
                  <a:cubicBezTo>
                    <a:pt x="3280" y="683"/>
                    <a:pt x="3260" y="701"/>
                    <a:pt x="3232" y="713"/>
                  </a:cubicBezTo>
                  <a:cubicBezTo>
                    <a:pt x="3205" y="724"/>
                    <a:pt x="3175" y="729"/>
                    <a:pt x="3140" y="733"/>
                  </a:cubicBezTo>
                  <a:cubicBezTo>
                    <a:pt x="3106" y="736"/>
                    <a:pt x="3072" y="736"/>
                    <a:pt x="3035" y="736"/>
                  </a:cubicBezTo>
                  <a:lnTo>
                    <a:pt x="2968" y="736"/>
                  </a:lnTo>
                  <a:lnTo>
                    <a:pt x="2968" y="357"/>
                  </a:lnTo>
                  <a:close/>
                  <a:moveTo>
                    <a:pt x="4880" y="126"/>
                  </a:moveTo>
                  <a:cubicBezTo>
                    <a:pt x="4837" y="101"/>
                    <a:pt x="4786" y="78"/>
                    <a:pt x="4733" y="60"/>
                  </a:cubicBezTo>
                  <a:cubicBezTo>
                    <a:pt x="4678" y="41"/>
                    <a:pt x="4623" y="25"/>
                    <a:pt x="4566" y="16"/>
                  </a:cubicBezTo>
                  <a:cubicBezTo>
                    <a:pt x="4508" y="7"/>
                    <a:pt x="4456" y="0"/>
                    <a:pt x="4403" y="0"/>
                  </a:cubicBezTo>
                  <a:cubicBezTo>
                    <a:pt x="4325" y="0"/>
                    <a:pt x="4257" y="14"/>
                    <a:pt x="4193" y="39"/>
                  </a:cubicBezTo>
                  <a:cubicBezTo>
                    <a:pt x="4128" y="62"/>
                    <a:pt x="4071" y="94"/>
                    <a:pt x="4025" y="140"/>
                  </a:cubicBezTo>
                  <a:cubicBezTo>
                    <a:pt x="3979" y="185"/>
                    <a:pt x="3943" y="238"/>
                    <a:pt x="3917" y="300"/>
                  </a:cubicBezTo>
                  <a:cubicBezTo>
                    <a:pt x="3890" y="362"/>
                    <a:pt x="3878" y="433"/>
                    <a:pt x="3878" y="509"/>
                  </a:cubicBezTo>
                  <a:cubicBezTo>
                    <a:pt x="3878" y="566"/>
                    <a:pt x="3883" y="619"/>
                    <a:pt x="3897" y="658"/>
                  </a:cubicBezTo>
                  <a:cubicBezTo>
                    <a:pt x="3908" y="701"/>
                    <a:pt x="3927" y="736"/>
                    <a:pt x="3952" y="766"/>
                  </a:cubicBezTo>
                  <a:cubicBezTo>
                    <a:pt x="3975" y="795"/>
                    <a:pt x="4002" y="821"/>
                    <a:pt x="4037" y="841"/>
                  </a:cubicBezTo>
                  <a:cubicBezTo>
                    <a:pt x="4069" y="860"/>
                    <a:pt x="4108" y="878"/>
                    <a:pt x="4151" y="894"/>
                  </a:cubicBezTo>
                  <a:cubicBezTo>
                    <a:pt x="4195" y="908"/>
                    <a:pt x="4241" y="921"/>
                    <a:pt x="4291" y="937"/>
                  </a:cubicBezTo>
                  <a:cubicBezTo>
                    <a:pt x="4307" y="940"/>
                    <a:pt x="4325" y="947"/>
                    <a:pt x="4346" y="953"/>
                  </a:cubicBezTo>
                  <a:cubicBezTo>
                    <a:pt x="4369" y="960"/>
                    <a:pt x="4392" y="965"/>
                    <a:pt x="4412" y="974"/>
                  </a:cubicBezTo>
                  <a:cubicBezTo>
                    <a:pt x="4435" y="983"/>
                    <a:pt x="4454" y="995"/>
                    <a:pt x="4472" y="1008"/>
                  </a:cubicBezTo>
                  <a:cubicBezTo>
                    <a:pt x="4488" y="1020"/>
                    <a:pt x="4502" y="1034"/>
                    <a:pt x="4513" y="1052"/>
                  </a:cubicBezTo>
                  <a:cubicBezTo>
                    <a:pt x="4525" y="1066"/>
                    <a:pt x="4531" y="1086"/>
                    <a:pt x="4531" y="1109"/>
                  </a:cubicBezTo>
                  <a:cubicBezTo>
                    <a:pt x="4531" y="1134"/>
                    <a:pt x="4525" y="1157"/>
                    <a:pt x="4513" y="1178"/>
                  </a:cubicBezTo>
                  <a:cubicBezTo>
                    <a:pt x="4502" y="1196"/>
                    <a:pt x="4488" y="1212"/>
                    <a:pt x="4472" y="1224"/>
                  </a:cubicBezTo>
                  <a:cubicBezTo>
                    <a:pt x="4451" y="1237"/>
                    <a:pt x="4431" y="1244"/>
                    <a:pt x="4408" y="1251"/>
                  </a:cubicBezTo>
                  <a:cubicBezTo>
                    <a:pt x="4385" y="1258"/>
                    <a:pt x="4362" y="1260"/>
                    <a:pt x="4339" y="1260"/>
                  </a:cubicBezTo>
                  <a:cubicBezTo>
                    <a:pt x="4293" y="1260"/>
                    <a:pt x="4250" y="1253"/>
                    <a:pt x="4211" y="1240"/>
                  </a:cubicBezTo>
                  <a:cubicBezTo>
                    <a:pt x="4167" y="1224"/>
                    <a:pt x="4128" y="1208"/>
                    <a:pt x="4092" y="1185"/>
                  </a:cubicBezTo>
                  <a:cubicBezTo>
                    <a:pt x="4055" y="1159"/>
                    <a:pt x="4021" y="1132"/>
                    <a:pt x="3984" y="1105"/>
                  </a:cubicBezTo>
                  <a:lnTo>
                    <a:pt x="3814" y="1420"/>
                  </a:lnTo>
                  <a:cubicBezTo>
                    <a:pt x="3869" y="1457"/>
                    <a:pt x="3922" y="1489"/>
                    <a:pt x="3982" y="1514"/>
                  </a:cubicBezTo>
                  <a:cubicBezTo>
                    <a:pt x="4039" y="1540"/>
                    <a:pt x="4099" y="1560"/>
                    <a:pt x="4163" y="1572"/>
                  </a:cubicBezTo>
                  <a:cubicBezTo>
                    <a:pt x="4225" y="1588"/>
                    <a:pt x="4291" y="1592"/>
                    <a:pt x="4353" y="1592"/>
                  </a:cubicBezTo>
                  <a:cubicBezTo>
                    <a:pt x="4403" y="1592"/>
                    <a:pt x="4456" y="1590"/>
                    <a:pt x="4506" y="1579"/>
                  </a:cubicBezTo>
                  <a:cubicBezTo>
                    <a:pt x="4559" y="1570"/>
                    <a:pt x="4609" y="1553"/>
                    <a:pt x="4655" y="1531"/>
                  </a:cubicBezTo>
                  <a:cubicBezTo>
                    <a:pt x="4704" y="1512"/>
                    <a:pt x="4747" y="1485"/>
                    <a:pt x="4786" y="1450"/>
                  </a:cubicBezTo>
                  <a:cubicBezTo>
                    <a:pt x="4827" y="1416"/>
                    <a:pt x="4860" y="1379"/>
                    <a:pt x="4880" y="1333"/>
                  </a:cubicBezTo>
                  <a:cubicBezTo>
                    <a:pt x="4905" y="1290"/>
                    <a:pt x="4922" y="1244"/>
                    <a:pt x="4931" y="1194"/>
                  </a:cubicBezTo>
                  <a:cubicBezTo>
                    <a:pt x="4942" y="1146"/>
                    <a:pt x="4944" y="1095"/>
                    <a:pt x="4944" y="1045"/>
                  </a:cubicBezTo>
                  <a:cubicBezTo>
                    <a:pt x="4944" y="983"/>
                    <a:pt x="4935" y="931"/>
                    <a:pt x="4917" y="885"/>
                  </a:cubicBezTo>
                  <a:cubicBezTo>
                    <a:pt x="4896" y="841"/>
                    <a:pt x="4871" y="802"/>
                    <a:pt x="4837" y="770"/>
                  </a:cubicBezTo>
                  <a:cubicBezTo>
                    <a:pt x="4802" y="738"/>
                    <a:pt x="4763" y="710"/>
                    <a:pt x="4717" y="688"/>
                  </a:cubicBezTo>
                  <a:cubicBezTo>
                    <a:pt x="4671" y="665"/>
                    <a:pt x="4623" y="646"/>
                    <a:pt x="4568" y="632"/>
                  </a:cubicBezTo>
                  <a:lnTo>
                    <a:pt x="4467" y="600"/>
                  </a:lnTo>
                  <a:cubicBezTo>
                    <a:pt x="4449" y="598"/>
                    <a:pt x="4428" y="589"/>
                    <a:pt x="4410" y="582"/>
                  </a:cubicBezTo>
                  <a:cubicBezTo>
                    <a:pt x="4389" y="573"/>
                    <a:pt x="4369" y="564"/>
                    <a:pt x="4353" y="555"/>
                  </a:cubicBezTo>
                  <a:cubicBezTo>
                    <a:pt x="4334" y="543"/>
                    <a:pt x="4321" y="529"/>
                    <a:pt x="4309" y="513"/>
                  </a:cubicBezTo>
                  <a:cubicBezTo>
                    <a:pt x="4296" y="497"/>
                    <a:pt x="4291" y="479"/>
                    <a:pt x="4291" y="456"/>
                  </a:cubicBezTo>
                  <a:cubicBezTo>
                    <a:pt x="4291" y="438"/>
                    <a:pt x="4296" y="417"/>
                    <a:pt x="4307" y="399"/>
                  </a:cubicBezTo>
                  <a:cubicBezTo>
                    <a:pt x="4318" y="385"/>
                    <a:pt x="4330" y="373"/>
                    <a:pt x="4346" y="362"/>
                  </a:cubicBezTo>
                  <a:cubicBezTo>
                    <a:pt x="4367" y="353"/>
                    <a:pt x="4383" y="343"/>
                    <a:pt x="4403" y="339"/>
                  </a:cubicBezTo>
                  <a:cubicBezTo>
                    <a:pt x="4424" y="332"/>
                    <a:pt x="4442" y="330"/>
                    <a:pt x="4460" y="330"/>
                  </a:cubicBezTo>
                  <a:cubicBezTo>
                    <a:pt x="4508" y="330"/>
                    <a:pt x="4557" y="341"/>
                    <a:pt x="4600" y="357"/>
                  </a:cubicBezTo>
                  <a:cubicBezTo>
                    <a:pt x="4646" y="376"/>
                    <a:pt x="4685" y="399"/>
                    <a:pt x="4724" y="431"/>
                  </a:cubicBezTo>
                  <a:lnTo>
                    <a:pt x="4880" y="12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126" name="Rechteck 125"/>
          <p:cNvSpPr/>
          <p:nvPr userDrawn="1"/>
        </p:nvSpPr>
        <p:spPr>
          <a:xfrm>
            <a:off x="11143412" y="836613"/>
            <a:ext cx="1048586" cy="208800"/>
          </a:xfrm>
          <a:prstGeom prst="rect">
            <a:avLst/>
          </a:prstGeom>
          <a:solidFill>
            <a:srgbClr val="F5821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000" tIns="18000" rIns="18000" bIns="1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rgbClr val="97C139"/>
              </a:buClr>
            </a:pPr>
            <a:r>
              <a:rPr lang="de-DE" dirty="0">
                <a:solidFill>
                  <a:schemeClr val="tx1"/>
                </a:solidFill>
              </a:rPr>
              <a:t>Zone</a:t>
            </a:r>
          </a:p>
        </p:txBody>
      </p:sp>
      <p:sp>
        <p:nvSpPr>
          <p:cNvPr id="194" name="Freihandform 193"/>
          <p:cNvSpPr/>
          <p:nvPr userDrawn="1"/>
        </p:nvSpPr>
        <p:spPr>
          <a:xfrm>
            <a:off x="6454578" y="4290979"/>
            <a:ext cx="3142960" cy="1874865"/>
          </a:xfrm>
          <a:custGeom>
            <a:avLst/>
            <a:gdLst>
              <a:gd name="connsiteX0" fmla="*/ 0 w 3142960"/>
              <a:gd name="connsiteY0" fmla="*/ 0 h 1874865"/>
              <a:gd name="connsiteX1" fmla="*/ 3142960 w 3142960"/>
              <a:gd name="connsiteY1" fmla="*/ 0 h 1874865"/>
              <a:gd name="connsiteX2" fmla="*/ 3142960 w 3142960"/>
              <a:gd name="connsiteY2" fmla="*/ 1718404 h 1874865"/>
              <a:gd name="connsiteX3" fmla="*/ 2450159 w 3142960"/>
              <a:gd name="connsiteY3" fmla="*/ 1718404 h 1874865"/>
              <a:gd name="connsiteX4" fmla="*/ 2294991 w 3142960"/>
              <a:gd name="connsiteY4" fmla="*/ 1874865 h 1874865"/>
              <a:gd name="connsiteX5" fmla="*/ 0 w 3142960"/>
              <a:gd name="connsiteY5" fmla="*/ 1874865 h 18748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142960" h="1874865">
                <a:moveTo>
                  <a:pt x="0" y="0"/>
                </a:moveTo>
                <a:lnTo>
                  <a:pt x="3142960" y="0"/>
                </a:lnTo>
                <a:lnTo>
                  <a:pt x="3142960" y="1718404"/>
                </a:lnTo>
                <a:lnTo>
                  <a:pt x="2450159" y="1718404"/>
                </a:lnTo>
                <a:lnTo>
                  <a:pt x="2294991" y="1874865"/>
                </a:lnTo>
                <a:lnTo>
                  <a:pt x="0" y="1874865"/>
                </a:lnTo>
                <a:close/>
              </a:path>
            </a:pathLst>
          </a:custGeom>
          <a:solidFill>
            <a:srgbClr val="D1D9D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45720" rIns="10800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de-DE" sz="1400" dirty="0">
                <a:solidFill>
                  <a:schemeClr val="tx1"/>
                </a:solidFill>
              </a:rPr>
              <a:t>Änderung </a:t>
            </a:r>
            <a:r>
              <a:rPr lang="de-DE" sz="1400" baseline="0" dirty="0">
                <a:solidFill>
                  <a:schemeClr val="tx1"/>
                </a:solidFill>
              </a:rPr>
              <a:t>Folienlayout</a:t>
            </a:r>
            <a:endParaRPr lang="de-DE" sz="1400" dirty="0">
              <a:solidFill>
                <a:schemeClr val="tx1"/>
              </a:solidFill>
            </a:endParaRPr>
          </a:p>
        </p:txBody>
      </p:sp>
      <p:sp>
        <p:nvSpPr>
          <p:cNvPr id="198" name="Freihandform 197"/>
          <p:cNvSpPr/>
          <p:nvPr userDrawn="1"/>
        </p:nvSpPr>
        <p:spPr>
          <a:xfrm>
            <a:off x="9674964" y="4290978"/>
            <a:ext cx="1529999" cy="1718405"/>
          </a:xfrm>
          <a:custGeom>
            <a:avLst/>
            <a:gdLst>
              <a:gd name="connsiteX0" fmla="*/ 73034 w 1529999"/>
              <a:gd name="connsiteY0" fmla="*/ 1 h 1718405"/>
              <a:gd name="connsiteX1" fmla="*/ 1529999 w 1529999"/>
              <a:gd name="connsiteY1" fmla="*/ 1 h 1718405"/>
              <a:gd name="connsiteX2" fmla="*/ 1529999 w 1529999"/>
              <a:gd name="connsiteY2" fmla="*/ 1614533 h 1718405"/>
              <a:gd name="connsiteX3" fmla="*/ 1425886 w 1529999"/>
              <a:gd name="connsiteY3" fmla="*/ 1718405 h 1718405"/>
              <a:gd name="connsiteX4" fmla="*/ 73033 w 1529999"/>
              <a:gd name="connsiteY4" fmla="*/ 1718405 h 1718405"/>
              <a:gd name="connsiteX5" fmla="*/ 73033 w 1529999"/>
              <a:gd name="connsiteY5" fmla="*/ 1718404 h 1718405"/>
              <a:gd name="connsiteX6" fmla="*/ 73034 w 1529999"/>
              <a:gd name="connsiteY6" fmla="*/ 1718404 h 1718405"/>
              <a:gd name="connsiteX7" fmla="*/ 0 w 1529999"/>
              <a:gd name="connsiteY7" fmla="*/ 0 h 1718405"/>
              <a:gd name="connsiteX8" fmla="*/ 73034 w 1529999"/>
              <a:gd name="connsiteY8" fmla="*/ 0 h 1718405"/>
              <a:gd name="connsiteX9" fmla="*/ 73034 w 1529999"/>
              <a:gd name="connsiteY9" fmla="*/ 1 h 1718405"/>
              <a:gd name="connsiteX10" fmla="*/ 73033 w 1529999"/>
              <a:gd name="connsiteY10" fmla="*/ 1 h 1718405"/>
              <a:gd name="connsiteX11" fmla="*/ 73033 w 1529999"/>
              <a:gd name="connsiteY11" fmla="*/ 1718404 h 1718405"/>
              <a:gd name="connsiteX12" fmla="*/ 0 w 1529999"/>
              <a:gd name="connsiteY12" fmla="*/ 1718404 h 17184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529999" h="1718405">
                <a:moveTo>
                  <a:pt x="73034" y="1"/>
                </a:moveTo>
                <a:lnTo>
                  <a:pt x="1529999" y="1"/>
                </a:lnTo>
                <a:lnTo>
                  <a:pt x="1529999" y="1614533"/>
                </a:lnTo>
                <a:lnTo>
                  <a:pt x="1425886" y="1718405"/>
                </a:lnTo>
                <a:lnTo>
                  <a:pt x="73033" y="1718405"/>
                </a:lnTo>
                <a:lnTo>
                  <a:pt x="73033" y="1718404"/>
                </a:lnTo>
                <a:lnTo>
                  <a:pt x="73034" y="1718404"/>
                </a:lnTo>
                <a:close/>
                <a:moveTo>
                  <a:pt x="0" y="0"/>
                </a:moveTo>
                <a:lnTo>
                  <a:pt x="73034" y="0"/>
                </a:lnTo>
                <a:lnTo>
                  <a:pt x="73034" y="1"/>
                </a:lnTo>
                <a:lnTo>
                  <a:pt x="73033" y="1"/>
                </a:lnTo>
                <a:lnTo>
                  <a:pt x="73033" y="1718404"/>
                </a:lnTo>
                <a:lnTo>
                  <a:pt x="0" y="1718404"/>
                </a:lnTo>
                <a:close/>
              </a:path>
            </a:pathLst>
          </a:custGeom>
          <a:solidFill>
            <a:srgbClr val="D1D9D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45720" rIns="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400" dirty="0">
                <a:solidFill>
                  <a:schemeClr val="tx1"/>
                </a:solidFill>
              </a:rPr>
              <a:t>Keine Nutzung</a:t>
            </a:r>
            <a:r>
              <a:rPr lang="de-DE" sz="1400" baseline="0" dirty="0">
                <a:solidFill>
                  <a:schemeClr val="tx1"/>
                </a:solidFill>
              </a:rPr>
              <a:t> </a:t>
            </a:r>
            <a:br>
              <a:rPr lang="de-DE" sz="1400" baseline="0" dirty="0">
                <a:solidFill>
                  <a:schemeClr val="tx1"/>
                </a:solidFill>
              </a:rPr>
            </a:br>
            <a:r>
              <a:rPr lang="de-DE" sz="1400" baseline="0" dirty="0">
                <a:solidFill>
                  <a:schemeClr val="tx1"/>
                </a:solidFill>
              </a:rPr>
              <a:t>von Konturen</a:t>
            </a:r>
            <a:endParaRPr lang="de-DE" sz="1400" dirty="0">
              <a:solidFill>
                <a:schemeClr val="tx1"/>
              </a:solidFill>
            </a:endParaRPr>
          </a:p>
        </p:txBody>
      </p:sp>
      <p:pic>
        <p:nvPicPr>
          <p:cNvPr id="86" name="Grafik 85"/>
          <p:cNvPicPr>
            <a:picLocks noChangeAspect="1"/>
          </p:cNvPicPr>
          <p:nvPr userDrawn="1"/>
        </p:nvPicPr>
        <p:blipFill rotWithShape="1">
          <a:blip r:embed="rId2"/>
          <a:srcRect l="-413" t="-391" r="64380" b="35617"/>
          <a:stretch/>
        </p:blipFill>
        <p:spPr>
          <a:xfrm>
            <a:off x="6523392" y="4362980"/>
            <a:ext cx="902660" cy="1730865"/>
          </a:xfrm>
          <a:prstGeom prst="rect">
            <a:avLst/>
          </a:prstGeom>
        </p:spPr>
      </p:pic>
      <p:sp>
        <p:nvSpPr>
          <p:cNvPr id="89" name="Rechteck 88"/>
          <p:cNvSpPr/>
          <p:nvPr userDrawn="1"/>
        </p:nvSpPr>
        <p:spPr>
          <a:xfrm>
            <a:off x="983657" y="4290980"/>
            <a:ext cx="5396096" cy="1874865"/>
          </a:xfrm>
          <a:prstGeom prst="rect">
            <a:avLst/>
          </a:prstGeom>
          <a:solidFill>
            <a:srgbClr val="D1D9D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99720" rIns="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de-DE" sz="1400" dirty="0">
              <a:solidFill>
                <a:schemeClr val="tx1"/>
              </a:solidFill>
            </a:endParaRPr>
          </a:p>
        </p:txBody>
      </p:sp>
      <p:grpSp>
        <p:nvGrpSpPr>
          <p:cNvPr id="90" name="Gruppieren 89"/>
          <p:cNvGrpSpPr/>
          <p:nvPr userDrawn="1"/>
        </p:nvGrpSpPr>
        <p:grpSpPr>
          <a:xfrm>
            <a:off x="1056653" y="5056232"/>
            <a:ext cx="684077" cy="1037613"/>
            <a:chOff x="6857667" y="5091438"/>
            <a:chExt cx="684077" cy="1037613"/>
          </a:xfrm>
        </p:grpSpPr>
        <p:pic>
          <p:nvPicPr>
            <p:cNvPr id="92" name="Grafik 91"/>
            <p:cNvPicPr>
              <a:picLocks noChangeAspect="1"/>
            </p:cNvPicPr>
            <p:nvPr userDrawn="1"/>
          </p:nvPicPr>
          <p:blipFill rotWithShape="1">
            <a:blip r:embed="rId3"/>
            <a:srcRect l="2497" t="18212" r="6605"/>
            <a:stretch/>
          </p:blipFill>
          <p:spPr>
            <a:xfrm>
              <a:off x="6857667" y="5091438"/>
              <a:ext cx="684076" cy="210367"/>
            </a:xfrm>
            <a:prstGeom prst="rect">
              <a:avLst/>
            </a:prstGeom>
          </p:spPr>
        </p:pic>
        <p:pic>
          <p:nvPicPr>
            <p:cNvPr id="93" name="Grafik 92"/>
            <p:cNvPicPr>
              <a:picLocks noChangeAspect="1"/>
            </p:cNvPicPr>
            <p:nvPr userDrawn="1"/>
          </p:nvPicPr>
          <p:blipFill>
            <a:blip r:embed="rId4"/>
            <a:stretch>
              <a:fillRect/>
            </a:stretch>
          </p:blipFill>
          <p:spPr>
            <a:xfrm>
              <a:off x="6857668" y="5340624"/>
              <a:ext cx="684076" cy="788427"/>
            </a:xfrm>
            <a:prstGeom prst="rect">
              <a:avLst/>
            </a:prstGeom>
          </p:spPr>
        </p:pic>
      </p:grpSp>
      <p:grpSp>
        <p:nvGrpSpPr>
          <p:cNvPr id="45" name="Gruppieren 44"/>
          <p:cNvGrpSpPr/>
          <p:nvPr userDrawn="1"/>
        </p:nvGrpSpPr>
        <p:grpSpPr>
          <a:xfrm>
            <a:off x="983657" y="1410980"/>
            <a:ext cx="1800000" cy="2808000"/>
            <a:chOff x="839788" y="1269171"/>
            <a:chExt cx="1800000" cy="2808000"/>
          </a:xfrm>
        </p:grpSpPr>
        <p:sp>
          <p:nvSpPr>
            <p:cNvPr id="67" name="Rechteck 66"/>
            <p:cNvSpPr/>
            <p:nvPr userDrawn="1"/>
          </p:nvSpPr>
          <p:spPr>
            <a:xfrm>
              <a:off x="839788" y="1269171"/>
              <a:ext cx="1800000" cy="2808000"/>
            </a:xfrm>
            <a:prstGeom prst="rect">
              <a:avLst/>
            </a:prstGeom>
            <a:solidFill>
              <a:srgbClr val="D1D9D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45720" rIns="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e-DE" sz="1400" dirty="0">
                  <a:solidFill>
                    <a:schemeClr val="tx1"/>
                  </a:solidFill>
                </a:rPr>
                <a:t>Keine Nutzung der Designfarben-Stufung</a:t>
              </a:r>
            </a:p>
          </p:txBody>
        </p:sp>
        <p:pic>
          <p:nvPicPr>
            <p:cNvPr id="3" name="Grafik 2"/>
            <p:cNvPicPr>
              <a:picLocks noChangeAspect="1"/>
            </p:cNvPicPr>
            <p:nvPr userDrawn="1"/>
          </p:nvPicPr>
          <p:blipFill>
            <a:blip r:embed="rId5"/>
            <a:stretch>
              <a:fillRect/>
            </a:stretch>
          </p:blipFill>
          <p:spPr>
            <a:xfrm>
              <a:off x="910998" y="1804589"/>
              <a:ext cx="1657581" cy="2200582"/>
            </a:xfrm>
            <a:prstGeom prst="rect">
              <a:avLst/>
            </a:prstGeom>
          </p:spPr>
        </p:pic>
        <p:cxnSp>
          <p:nvCxnSpPr>
            <p:cNvPr id="11" name="Gerader Verbinder 10"/>
            <p:cNvCxnSpPr/>
            <p:nvPr userDrawn="1"/>
          </p:nvCxnSpPr>
          <p:spPr>
            <a:xfrm flipH="1">
              <a:off x="929788" y="2215785"/>
              <a:ext cx="1620000" cy="648000"/>
            </a:xfrm>
            <a:prstGeom prst="line">
              <a:avLst/>
            </a:prstGeom>
            <a:ln w="38100">
              <a:solidFill>
                <a:srgbClr val="DC1E2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Gerader Verbinder 60"/>
            <p:cNvCxnSpPr/>
            <p:nvPr userDrawn="1"/>
          </p:nvCxnSpPr>
          <p:spPr>
            <a:xfrm>
              <a:off x="929788" y="2215785"/>
              <a:ext cx="1620000" cy="648000"/>
            </a:xfrm>
            <a:prstGeom prst="line">
              <a:avLst/>
            </a:prstGeom>
            <a:ln w="38100">
              <a:solidFill>
                <a:srgbClr val="DC1E2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Gerader Verbinder 62"/>
            <p:cNvCxnSpPr/>
            <p:nvPr userDrawn="1"/>
          </p:nvCxnSpPr>
          <p:spPr>
            <a:xfrm>
              <a:off x="929788" y="3807089"/>
              <a:ext cx="1620000" cy="144000"/>
            </a:xfrm>
            <a:prstGeom prst="line">
              <a:avLst/>
            </a:prstGeom>
            <a:ln w="38100">
              <a:solidFill>
                <a:srgbClr val="DC1E2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Gerader Verbinder 63"/>
            <p:cNvCxnSpPr/>
            <p:nvPr userDrawn="1"/>
          </p:nvCxnSpPr>
          <p:spPr>
            <a:xfrm flipH="1">
              <a:off x="929788" y="3807089"/>
              <a:ext cx="1620000" cy="144000"/>
            </a:xfrm>
            <a:prstGeom prst="line">
              <a:avLst/>
            </a:prstGeom>
            <a:ln w="38100">
              <a:solidFill>
                <a:srgbClr val="DC1E2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3" name="Gruppieren 12"/>
          <p:cNvGrpSpPr/>
          <p:nvPr userDrawn="1"/>
        </p:nvGrpSpPr>
        <p:grpSpPr>
          <a:xfrm>
            <a:off x="2853046" y="1410980"/>
            <a:ext cx="1728659" cy="2808000"/>
            <a:chOff x="2711788" y="1269171"/>
            <a:chExt cx="1728659" cy="2808000"/>
          </a:xfrm>
        </p:grpSpPr>
        <p:sp>
          <p:nvSpPr>
            <p:cNvPr id="66" name="Rechteck 65"/>
            <p:cNvSpPr/>
            <p:nvPr userDrawn="1"/>
          </p:nvSpPr>
          <p:spPr>
            <a:xfrm>
              <a:off x="2711788" y="1269171"/>
              <a:ext cx="1728658" cy="2808000"/>
            </a:xfrm>
            <a:prstGeom prst="rect">
              <a:avLst/>
            </a:prstGeom>
            <a:solidFill>
              <a:srgbClr val="D1D9D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45720" rIns="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e-DE" sz="1400" dirty="0">
                  <a:solidFill>
                    <a:schemeClr val="tx1"/>
                  </a:solidFill>
                </a:rPr>
                <a:t>Keine Nutzung von</a:t>
              </a:r>
              <a:r>
                <a:rPr lang="de-DE" sz="1400" baseline="0" dirty="0">
                  <a:solidFill>
                    <a:schemeClr val="tx1"/>
                  </a:solidFill>
                </a:rPr>
                <a:t> Aufzählungszeichen</a:t>
              </a:r>
              <a:endParaRPr lang="de-DE" sz="1400" dirty="0">
                <a:solidFill>
                  <a:schemeClr val="tx1"/>
                </a:solidFill>
              </a:endParaRPr>
            </a:p>
          </p:txBody>
        </p:sp>
        <p:pic>
          <p:nvPicPr>
            <p:cNvPr id="15" name="Grafik 14"/>
            <p:cNvPicPr>
              <a:picLocks noChangeAspect="1"/>
            </p:cNvPicPr>
            <p:nvPr userDrawn="1"/>
          </p:nvPicPr>
          <p:blipFill>
            <a:blip r:embed="rId6"/>
            <a:stretch>
              <a:fillRect/>
            </a:stretch>
          </p:blipFill>
          <p:spPr>
            <a:xfrm>
              <a:off x="2787075" y="3463386"/>
              <a:ext cx="635580" cy="538545"/>
            </a:xfrm>
            <a:prstGeom prst="rect">
              <a:avLst/>
            </a:prstGeom>
          </p:spPr>
        </p:pic>
        <p:pic>
          <p:nvPicPr>
            <p:cNvPr id="16" name="Grafik 15"/>
            <p:cNvPicPr>
              <a:picLocks noChangeAspect="1"/>
            </p:cNvPicPr>
            <p:nvPr userDrawn="1"/>
          </p:nvPicPr>
          <p:blipFill>
            <a:blip r:embed="rId7"/>
            <a:stretch>
              <a:fillRect/>
            </a:stretch>
          </p:blipFill>
          <p:spPr>
            <a:xfrm>
              <a:off x="2787074" y="1804589"/>
              <a:ext cx="1581371" cy="609685"/>
            </a:xfrm>
            <a:prstGeom prst="rect">
              <a:avLst/>
            </a:prstGeom>
          </p:spPr>
        </p:pic>
        <p:pic>
          <p:nvPicPr>
            <p:cNvPr id="18" name="Grafik 17"/>
            <p:cNvPicPr>
              <a:picLocks noChangeAspect="1"/>
            </p:cNvPicPr>
            <p:nvPr userDrawn="1"/>
          </p:nvPicPr>
          <p:blipFill>
            <a:blip r:embed="rId8"/>
            <a:stretch>
              <a:fillRect/>
            </a:stretch>
          </p:blipFill>
          <p:spPr>
            <a:xfrm>
              <a:off x="2787075" y="2974830"/>
              <a:ext cx="1581371" cy="416556"/>
            </a:xfrm>
            <a:prstGeom prst="rect">
              <a:avLst/>
            </a:prstGeom>
          </p:spPr>
        </p:pic>
        <p:pic>
          <p:nvPicPr>
            <p:cNvPr id="19" name="Grafik 18"/>
            <p:cNvPicPr>
              <a:picLocks noChangeAspect="1"/>
            </p:cNvPicPr>
            <p:nvPr userDrawn="1"/>
          </p:nvPicPr>
          <p:blipFill>
            <a:blip r:embed="rId9"/>
            <a:stretch>
              <a:fillRect/>
            </a:stretch>
          </p:blipFill>
          <p:spPr>
            <a:xfrm>
              <a:off x="2787075" y="2486274"/>
              <a:ext cx="1581371" cy="416556"/>
            </a:xfrm>
            <a:prstGeom prst="rect">
              <a:avLst/>
            </a:prstGeom>
          </p:spPr>
        </p:pic>
        <p:cxnSp>
          <p:nvCxnSpPr>
            <p:cNvPr id="69" name="Gerader Verbinder 68"/>
            <p:cNvCxnSpPr/>
            <p:nvPr userDrawn="1"/>
          </p:nvCxnSpPr>
          <p:spPr>
            <a:xfrm flipH="1">
              <a:off x="2807637" y="1836593"/>
              <a:ext cx="216000" cy="216000"/>
            </a:xfrm>
            <a:prstGeom prst="line">
              <a:avLst/>
            </a:prstGeom>
            <a:ln w="38100">
              <a:solidFill>
                <a:srgbClr val="DC1E2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0" name="Rechteck 19"/>
            <p:cNvSpPr/>
            <p:nvPr userDrawn="1"/>
          </p:nvSpPr>
          <p:spPr>
            <a:xfrm>
              <a:off x="3539910" y="1835432"/>
              <a:ext cx="433462" cy="215892"/>
            </a:xfrm>
            <a:prstGeom prst="rect">
              <a:avLst/>
            </a:prstGeom>
            <a:noFill/>
            <a:ln w="28575">
              <a:solidFill>
                <a:srgbClr val="6A8A2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buClr>
                  <a:srgbClr val="97C139"/>
                </a:buClr>
              </a:pPr>
              <a:endParaRPr lang="en-US" dirty="0" err="1">
                <a:solidFill>
                  <a:schemeClr val="tx1"/>
                </a:solidFill>
              </a:endParaRPr>
            </a:p>
          </p:txBody>
        </p:sp>
        <p:pic>
          <p:nvPicPr>
            <p:cNvPr id="21" name="Grafik 20"/>
            <p:cNvPicPr>
              <a:picLocks noChangeAspect="1"/>
            </p:cNvPicPr>
            <p:nvPr userDrawn="1"/>
          </p:nvPicPr>
          <p:blipFill>
            <a:blip r:embed="rId10"/>
            <a:stretch>
              <a:fillRect/>
            </a:stretch>
          </p:blipFill>
          <p:spPr>
            <a:xfrm>
              <a:off x="3987392" y="2280905"/>
              <a:ext cx="381053" cy="133369"/>
            </a:xfrm>
            <a:prstGeom prst="rect">
              <a:avLst/>
            </a:prstGeom>
          </p:spPr>
        </p:pic>
        <p:sp>
          <p:nvSpPr>
            <p:cNvPr id="22" name="Rechteck 21"/>
            <p:cNvSpPr/>
            <p:nvPr userDrawn="1"/>
          </p:nvSpPr>
          <p:spPr>
            <a:xfrm>
              <a:off x="3792265" y="2658552"/>
              <a:ext cx="72000" cy="72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buClr>
                  <a:srgbClr val="97C139"/>
                </a:buClr>
              </a:pPr>
              <a:endParaRPr lang="en-US" dirty="0" err="1">
                <a:solidFill>
                  <a:schemeClr val="tx1"/>
                </a:solidFill>
              </a:endParaRPr>
            </a:p>
          </p:txBody>
        </p:sp>
        <p:cxnSp>
          <p:nvCxnSpPr>
            <p:cNvPr id="24" name="Gewinkelter Verbinder 23"/>
            <p:cNvCxnSpPr>
              <a:stCxn id="20" idx="2"/>
              <a:endCxn id="22" idx="3"/>
            </p:cNvCxnSpPr>
            <p:nvPr userDrawn="1"/>
          </p:nvCxnSpPr>
          <p:spPr>
            <a:xfrm rot="16200000" flipH="1">
              <a:off x="3488839" y="2319126"/>
              <a:ext cx="643228" cy="107624"/>
            </a:xfrm>
            <a:prstGeom prst="bentConnector4">
              <a:avLst>
                <a:gd name="adj1" fmla="val 63491"/>
                <a:gd name="adj2" fmla="val 413784"/>
              </a:avLst>
            </a:prstGeom>
            <a:ln w="19050">
              <a:solidFill>
                <a:schemeClr val="bg1">
                  <a:lumMod val="75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5" name="Rechteck 74"/>
            <p:cNvSpPr/>
            <p:nvPr userDrawn="1"/>
          </p:nvSpPr>
          <p:spPr>
            <a:xfrm>
              <a:off x="3792265" y="3147108"/>
              <a:ext cx="72000" cy="72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buClr>
                  <a:srgbClr val="97C139"/>
                </a:buClr>
              </a:pPr>
              <a:endParaRPr lang="en-US" dirty="0" err="1">
                <a:solidFill>
                  <a:schemeClr val="tx1"/>
                </a:solidFill>
              </a:endParaRPr>
            </a:p>
          </p:txBody>
        </p:sp>
        <p:cxnSp>
          <p:nvCxnSpPr>
            <p:cNvPr id="77" name="Gewinkelter Verbinder 76"/>
            <p:cNvCxnSpPr>
              <a:stCxn id="20" idx="2"/>
              <a:endCxn id="75" idx="3"/>
            </p:cNvCxnSpPr>
            <p:nvPr userDrawn="1"/>
          </p:nvCxnSpPr>
          <p:spPr>
            <a:xfrm rot="16200000" flipH="1">
              <a:off x="3244561" y="2563404"/>
              <a:ext cx="1131784" cy="107624"/>
            </a:xfrm>
            <a:prstGeom prst="bentConnector4">
              <a:avLst>
                <a:gd name="adj1" fmla="val 35506"/>
                <a:gd name="adj2" fmla="val 413784"/>
              </a:avLst>
            </a:prstGeom>
            <a:ln w="19050">
              <a:solidFill>
                <a:schemeClr val="bg1">
                  <a:lumMod val="75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03" name="Rechteck 102"/>
            <p:cNvSpPr/>
            <p:nvPr userDrawn="1"/>
          </p:nvSpPr>
          <p:spPr>
            <a:xfrm>
              <a:off x="3406141" y="3493908"/>
              <a:ext cx="1034306" cy="508023"/>
            </a:xfrm>
            <a:prstGeom prst="rect">
              <a:avLst/>
            </a:prstGeom>
            <a:solidFill>
              <a:srgbClr val="D1D9D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e-DE" sz="1050" b="0" dirty="0">
                  <a:solidFill>
                    <a:schemeClr val="tx1"/>
                  </a:solidFill>
                </a:rPr>
                <a:t>Listenebene</a:t>
              </a:r>
              <a:r>
                <a:rPr lang="de-DE" sz="1050" dirty="0">
                  <a:solidFill>
                    <a:schemeClr val="tx1"/>
                  </a:solidFill>
                </a:rPr>
                <a:t> anpassen!</a:t>
              </a:r>
            </a:p>
          </p:txBody>
        </p:sp>
        <p:cxnSp>
          <p:nvCxnSpPr>
            <p:cNvPr id="104" name="Gerader Verbinder 103"/>
            <p:cNvCxnSpPr/>
            <p:nvPr userDrawn="1"/>
          </p:nvCxnSpPr>
          <p:spPr>
            <a:xfrm>
              <a:off x="2807637" y="1836593"/>
              <a:ext cx="216000" cy="216000"/>
            </a:xfrm>
            <a:prstGeom prst="line">
              <a:avLst/>
            </a:prstGeom>
            <a:ln w="38100">
              <a:solidFill>
                <a:srgbClr val="DC1E2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1" name="Gruppieren 50"/>
          <p:cNvGrpSpPr/>
          <p:nvPr userDrawn="1"/>
        </p:nvGrpSpPr>
        <p:grpSpPr>
          <a:xfrm>
            <a:off x="4651095" y="1410980"/>
            <a:ext cx="1728658" cy="2808000"/>
            <a:chOff x="4651095" y="1410980"/>
            <a:chExt cx="1728658" cy="2808000"/>
          </a:xfrm>
        </p:grpSpPr>
        <p:grpSp>
          <p:nvGrpSpPr>
            <p:cNvPr id="23" name="Gruppieren 22"/>
            <p:cNvGrpSpPr/>
            <p:nvPr userDrawn="1"/>
          </p:nvGrpSpPr>
          <p:grpSpPr>
            <a:xfrm>
              <a:off x="4651095" y="1410980"/>
              <a:ext cx="1728658" cy="1181257"/>
              <a:chOff x="4585632" y="1269171"/>
              <a:chExt cx="1728658" cy="1181257"/>
            </a:xfrm>
          </p:grpSpPr>
          <p:sp>
            <p:nvSpPr>
              <p:cNvPr id="74" name="Rechteck 73"/>
              <p:cNvSpPr/>
              <p:nvPr userDrawn="1"/>
            </p:nvSpPr>
            <p:spPr>
              <a:xfrm>
                <a:off x="4585632" y="1269171"/>
                <a:ext cx="1728658" cy="1181257"/>
              </a:xfrm>
              <a:prstGeom prst="rect">
                <a:avLst/>
              </a:prstGeom>
              <a:solidFill>
                <a:srgbClr val="D1D9DE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45720" rIns="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ctr"/>
                <a:r>
                  <a:rPr lang="de-DE" sz="1400" b="0" dirty="0">
                    <a:solidFill>
                      <a:schemeClr val="tx1"/>
                    </a:solidFill>
                  </a:rPr>
                  <a:t>Schriftart</a:t>
                </a:r>
                <a:br>
                  <a:rPr lang="de-DE" sz="1400" dirty="0">
                    <a:solidFill>
                      <a:schemeClr val="tx1"/>
                    </a:solidFill>
                  </a:rPr>
                </a:br>
                <a:r>
                  <a:rPr lang="de-DE" sz="1400" dirty="0">
                    <a:solidFill>
                      <a:schemeClr val="tx1"/>
                    </a:solidFill>
                  </a:rPr>
                  <a:t>Arial</a:t>
                </a:r>
                <a:r>
                  <a:rPr lang="de-DE" sz="1400" baseline="0" dirty="0">
                    <a:solidFill>
                      <a:schemeClr val="tx1"/>
                    </a:solidFill>
                  </a:rPr>
                  <a:t> (Textkörper)</a:t>
                </a:r>
                <a:endParaRPr lang="de-DE" sz="1400" dirty="0">
                  <a:solidFill>
                    <a:schemeClr val="tx1"/>
                  </a:solidFill>
                </a:endParaRPr>
              </a:p>
            </p:txBody>
          </p:sp>
          <p:pic>
            <p:nvPicPr>
              <p:cNvPr id="12" name="Grafik 11"/>
              <p:cNvPicPr>
                <a:picLocks noChangeAspect="1"/>
              </p:cNvPicPr>
              <p:nvPr userDrawn="1"/>
            </p:nvPicPr>
            <p:blipFill>
              <a:blip r:embed="rId11"/>
              <a:stretch>
                <a:fillRect/>
              </a:stretch>
            </p:blipFill>
            <p:spPr>
              <a:xfrm>
                <a:off x="4657177" y="1804589"/>
                <a:ext cx="1583286" cy="575201"/>
              </a:xfrm>
              <a:prstGeom prst="rect">
                <a:avLst/>
              </a:prstGeom>
            </p:spPr>
          </p:pic>
          <p:sp>
            <p:nvSpPr>
              <p:cNvPr id="105" name="Rechteck 104"/>
              <p:cNvSpPr/>
              <p:nvPr userDrawn="1"/>
            </p:nvSpPr>
            <p:spPr>
              <a:xfrm>
                <a:off x="4657961" y="2219153"/>
                <a:ext cx="1584000" cy="162000"/>
              </a:xfrm>
              <a:prstGeom prst="rect">
                <a:avLst/>
              </a:prstGeom>
              <a:noFill/>
              <a:ln w="28575">
                <a:solidFill>
                  <a:srgbClr val="6A8A2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buClr>
                    <a:srgbClr val="97C139"/>
                  </a:buClr>
                </a:pPr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13" name="Rechteck 112"/>
              <p:cNvSpPr/>
              <p:nvPr userDrawn="1"/>
            </p:nvSpPr>
            <p:spPr>
              <a:xfrm>
                <a:off x="5221257" y="1802597"/>
                <a:ext cx="298679" cy="139157"/>
              </a:xfrm>
              <a:prstGeom prst="rect">
                <a:avLst/>
              </a:prstGeom>
              <a:noFill/>
              <a:ln w="28575">
                <a:solidFill>
                  <a:srgbClr val="6A8A2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buClr>
                    <a:srgbClr val="97C139"/>
                  </a:buClr>
                </a:pPr>
                <a:endParaRPr lang="en-US" dirty="0" err="1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50" name="Gruppieren 49"/>
            <p:cNvGrpSpPr/>
            <p:nvPr userDrawn="1"/>
          </p:nvGrpSpPr>
          <p:grpSpPr>
            <a:xfrm>
              <a:off x="4651095" y="2646351"/>
              <a:ext cx="1728658" cy="1572629"/>
              <a:chOff x="4651095" y="2646351"/>
              <a:chExt cx="1728658" cy="1572629"/>
            </a:xfrm>
          </p:grpSpPr>
          <p:sp>
            <p:nvSpPr>
              <p:cNvPr id="116" name="Rechteck 115"/>
              <p:cNvSpPr/>
              <p:nvPr userDrawn="1"/>
            </p:nvSpPr>
            <p:spPr>
              <a:xfrm>
                <a:off x="4651095" y="2646351"/>
                <a:ext cx="1728658" cy="1572629"/>
              </a:xfrm>
              <a:prstGeom prst="rect">
                <a:avLst/>
              </a:prstGeom>
              <a:solidFill>
                <a:srgbClr val="D1D9DE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45720" rIns="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ctr"/>
                <a:r>
                  <a:rPr lang="de-DE" sz="1400" b="0" dirty="0">
                    <a:solidFill>
                      <a:schemeClr val="tx1"/>
                    </a:solidFill>
                  </a:rPr>
                  <a:t>Action Title</a:t>
                </a:r>
                <a:br>
                  <a:rPr lang="de-DE" sz="1400" dirty="0">
                    <a:solidFill>
                      <a:schemeClr val="tx1"/>
                    </a:solidFill>
                  </a:rPr>
                </a:br>
                <a:r>
                  <a:rPr lang="de-DE" sz="1400" b="0" dirty="0">
                    <a:solidFill>
                      <a:schemeClr val="tx1"/>
                    </a:solidFill>
                  </a:rPr>
                  <a:t>Arial</a:t>
                </a:r>
                <a:r>
                  <a:rPr lang="de-DE" sz="1400" b="0" baseline="0" dirty="0">
                    <a:solidFill>
                      <a:schemeClr val="tx1"/>
                    </a:solidFill>
                  </a:rPr>
                  <a:t> (Überschriften)</a:t>
                </a:r>
                <a:endParaRPr lang="de-DE" sz="1400" b="0" dirty="0">
                  <a:solidFill>
                    <a:schemeClr val="tx1"/>
                  </a:solidFill>
                </a:endParaRPr>
              </a:p>
            </p:txBody>
          </p:sp>
          <p:pic>
            <p:nvPicPr>
              <p:cNvPr id="25" name="Grafik 24"/>
              <p:cNvPicPr>
                <a:picLocks noChangeAspect="1"/>
              </p:cNvPicPr>
              <p:nvPr userDrawn="1"/>
            </p:nvPicPr>
            <p:blipFill>
              <a:blip r:embed="rId12"/>
              <a:stretch>
                <a:fillRect/>
              </a:stretch>
            </p:blipFill>
            <p:spPr>
              <a:xfrm>
                <a:off x="4722640" y="3181769"/>
                <a:ext cx="1583286" cy="569272"/>
              </a:xfrm>
              <a:prstGeom prst="rect">
                <a:avLst/>
              </a:prstGeom>
            </p:spPr>
          </p:pic>
          <p:sp>
            <p:nvSpPr>
              <p:cNvPr id="107" name="Rechteck 106"/>
              <p:cNvSpPr/>
              <p:nvPr userDrawn="1"/>
            </p:nvSpPr>
            <p:spPr>
              <a:xfrm>
                <a:off x="5809978" y="2800361"/>
                <a:ext cx="72000" cy="72000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buClr>
                    <a:srgbClr val="97C139"/>
                  </a:buClr>
                </a:pPr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09" name="Rechteck 108"/>
              <p:cNvSpPr/>
              <p:nvPr userDrawn="1"/>
            </p:nvSpPr>
            <p:spPr>
              <a:xfrm>
                <a:off x="5809978" y="3288917"/>
                <a:ext cx="72000" cy="72000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buClr>
                    <a:srgbClr val="97C139"/>
                  </a:buClr>
                </a:pPr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18" name="Rechteck 117"/>
              <p:cNvSpPr/>
              <p:nvPr userDrawn="1"/>
            </p:nvSpPr>
            <p:spPr>
              <a:xfrm>
                <a:off x="4723424" y="3459859"/>
                <a:ext cx="1584000" cy="162000"/>
              </a:xfrm>
              <a:prstGeom prst="rect">
                <a:avLst/>
              </a:prstGeom>
              <a:noFill/>
              <a:ln w="28575">
                <a:solidFill>
                  <a:srgbClr val="6A8A2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buClr>
                    <a:srgbClr val="97C139"/>
                  </a:buClr>
                </a:pPr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19" name="Rechteck 118"/>
              <p:cNvSpPr/>
              <p:nvPr userDrawn="1"/>
            </p:nvSpPr>
            <p:spPr>
              <a:xfrm>
                <a:off x="5286720" y="3179777"/>
                <a:ext cx="298679" cy="139157"/>
              </a:xfrm>
              <a:prstGeom prst="rect">
                <a:avLst/>
              </a:prstGeom>
              <a:noFill/>
              <a:ln w="28575">
                <a:solidFill>
                  <a:srgbClr val="6A8A2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buClr>
                    <a:srgbClr val="97C139"/>
                  </a:buClr>
                </a:pPr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20" name="Rechteck 119"/>
              <p:cNvSpPr/>
              <p:nvPr userDrawn="1"/>
            </p:nvSpPr>
            <p:spPr>
              <a:xfrm>
                <a:off x="4651095" y="3786709"/>
                <a:ext cx="1728658" cy="432271"/>
              </a:xfrm>
              <a:prstGeom prst="rect">
                <a:avLst/>
              </a:prstGeom>
              <a:solidFill>
                <a:srgbClr val="D1D9DE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36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r>
                  <a:rPr lang="de-DE" sz="600" dirty="0">
                    <a:solidFill>
                      <a:schemeClr val="tx1"/>
                    </a:solidFill>
                  </a:rPr>
                  <a:t>Der</a:t>
                </a:r>
                <a:r>
                  <a:rPr lang="de-DE" sz="600" baseline="0" dirty="0">
                    <a:solidFill>
                      <a:schemeClr val="tx1"/>
                    </a:solidFill>
                  </a:rPr>
                  <a:t> Action Title ist ein vollständiger, zweizeiliger Satz und beschreibt die Kernaussage der Folie.</a:t>
                </a:r>
                <a:endParaRPr lang="de-DE" sz="600" dirty="0">
                  <a:solidFill>
                    <a:schemeClr val="tx1"/>
                  </a:solidFill>
                </a:endParaRPr>
              </a:p>
            </p:txBody>
          </p:sp>
        </p:grpSp>
      </p:grpSp>
      <p:sp>
        <p:nvSpPr>
          <p:cNvPr id="27" name="Rechteck 26"/>
          <p:cNvSpPr/>
          <p:nvPr userDrawn="1"/>
        </p:nvSpPr>
        <p:spPr>
          <a:xfrm>
            <a:off x="839788" y="1268413"/>
            <a:ext cx="10512000" cy="72000"/>
          </a:xfrm>
          <a:prstGeom prst="rect">
            <a:avLst/>
          </a:prstGeom>
          <a:solidFill>
            <a:srgbClr val="C5DE8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rgbClr val="97C139"/>
              </a:buClr>
            </a:pPr>
            <a:endParaRPr lang="de-DE" dirty="0" err="1">
              <a:solidFill>
                <a:schemeClr val="tx1"/>
              </a:solidFill>
            </a:endParaRPr>
          </a:p>
        </p:txBody>
      </p:sp>
      <p:sp>
        <p:nvSpPr>
          <p:cNvPr id="122" name="Rechteck 121"/>
          <p:cNvSpPr/>
          <p:nvPr userDrawn="1"/>
        </p:nvSpPr>
        <p:spPr>
          <a:xfrm>
            <a:off x="839788" y="6236413"/>
            <a:ext cx="10512000" cy="72000"/>
          </a:xfrm>
          <a:prstGeom prst="rect">
            <a:avLst/>
          </a:prstGeom>
          <a:solidFill>
            <a:srgbClr val="C5DE8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rgbClr val="97C139"/>
              </a:buClr>
            </a:pPr>
            <a:endParaRPr lang="de-DE" dirty="0" err="1">
              <a:solidFill>
                <a:schemeClr val="tx1"/>
              </a:solidFill>
            </a:endParaRPr>
          </a:p>
        </p:txBody>
      </p:sp>
      <p:sp>
        <p:nvSpPr>
          <p:cNvPr id="123" name="Rechteck 122"/>
          <p:cNvSpPr/>
          <p:nvPr userDrawn="1"/>
        </p:nvSpPr>
        <p:spPr>
          <a:xfrm>
            <a:off x="839788" y="1268413"/>
            <a:ext cx="72000" cy="5040000"/>
          </a:xfrm>
          <a:prstGeom prst="rect">
            <a:avLst/>
          </a:prstGeom>
          <a:solidFill>
            <a:srgbClr val="C5DE8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rgbClr val="97C139"/>
              </a:buClr>
            </a:pPr>
            <a:endParaRPr lang="de-DE" dirty="0" err="1">
              <a:solidFill>
                <a:schemeClr val="tx1"/>
              </a:solidFill>
            </a:endParaRPr>
          </a:p>
        </p:txBody>
      </p:sp>
      <p:sp>
        <p:nvSpPr>
          <p:cNvPr id="124" name="Rechteck 123"/>
          <p:cNvSpPr/>
          <p:nvPr userDrawn="1"/>
        </p:nvSpPr>
        <p:spPr>
          <a:xfrm>
            <a:off x="11279788" y="1268413"/>
            <a:ext cx="72000" cy="5040000"/>
          </a:xfrm>
          <a:prstGeom prst="rect">
            <a:avLst/>
          </a:prstGeom>
          <a:solidFill>
            <a:srgbClr val="C5DE8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rgbClr val="97C139"/>
              </a:buClr>
            </a:pPr>
            <a:endParaRPr lang="de-DE" dirty="0" err="1">
              <a:solidFill>
                <a:schemeClr val="tx1"/>
              </a:solidFill>
            </a:endParaRPr>
          </a:p>
        </p:txBody>
      </p:sp>
      <p:sp>
        <p:nvSpPr>
          <p:cNvPr id="121" name="Rechteck 120"/>
          <p:cNvSpPr/>
          <p:nvPr userDrawn="1"/>
        </p:nvSpPr>
        <p:spPr>
          <a:xfrm>
            <a:off x="8904737" y="6076693"/>
            <a:ext cx="2447051" cy="231720"/>
          </a:xfrm>
          <a:prstGeom prst="rect">
            <a:avLst/>
          </a:prstGeom>
          <a:solidFill>
            <a:srgbClr val="C5DE8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400" dirty="0">
                <a:solidFill>
                  <a:schemeClr val="tx1"/>
                </a:solidFill>
              </a:rPr>
              <a:t>Einhaltung der Führungslinien!</a:t>
            </a:r>
          </a:p>
        </p:txBody>
      </p:sp>
      <p:sp>
        <p:nvSpPr>
          <p:cNvPr id="28" name="Gleichschenkliges Dreieck 27"/>
          <p:cNvSpPr/>
          <p:nvPr userDrawn="1"/>
        </p:nvSpPr>
        <p:spPr>
          <a:xfrm>
            <a:off x="8746337" y="6076693"/>
            <a:ext cx="158400" cy="159720"/>
          </a:xfrm>
          <a:prstGeom prst="triangle">
            <a:avLst>
              <a:gd name="adj" fmla="val 100000"/>
            </a:avLst>
          </a:prstGeom>
          <a:solidFill>
            <a:srgbClr val="C5DE8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rgbClr val="97C139"/>
              </a:buClr>
            </a:pPr>
            <a:endParaRPr lang="de-DE" dirty="0" err="1">
              <a:solidFill>
                <a:schemeClr val="tx1"/>
              </a:solidFill>
            </a:endParaRPr>
          </a:p>
        </p:txBody>
      </p:sp>
      <p:sp>
        <p:nvSpPr>
          <p:cNvPr id="125" name="Gleichschenkliges Dreieck 124"/>
          <p:cNvSpPr/>
          <p:nvPr userDrawn="1"/>
        </p:nvSpPr>
        <p:spPr>
          <a:xfrm>
            <a:off x="11121389" y="5918660"/>
            <a:ext cx="158400" cy="158033"/>
          </a:xfrm>
          <a:prstGeom prst="triangle">
            <a:avLst>
              <a:gd name="adj" fmla="val 100000"/>
            </a:avLst>
          </a:prstGeom>
          <a:solidFill>
            <a:srgbClr val="C5DE8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rgbClr val="97C139"/>
              </a:buClr>
            </a:pPr>
            <a:endParaRPr lang="de-DE" dirty="0" err="1">
              <a:solidFill>
                <a:schemeClr val="tx1"/>
              </a:solidFill>
            </a:endParaRPr>
          </a:p>
        </p:txBody>
      </p:sp>
      <p:sp>
        <p:nvSpPr>
          <p:cNvPr id="40" name="Rechteck 39"/>
          <p:cNvSpPr/>
          <p:nvPr userDrawn="1"/>
        </p:nvSpPr>
        <p:spPr>
          <a:xfrm>
            <a:off x="983657" y="4374253"/>
            <a:ext cx="830997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/>
            <a:r>
              <a:rPr lang="de-DE" sz="1400" dirty="0">
                <a:solidFill>
                  <a:schemeClr val="tx1"/>
                </a:solidFill>
              </a:rPr>
              <a:t>Änderung </a:t>
            </a:r>
            <a:br>
              <a:rPr lang="de-DE" sz="1400" dirty="0">
                <a:solidFill>
                  <a:schemeClr val="tx1"/>
                </a:solidFill>
              </a:rPr>
            </a:br>
            <a:r>
              <a:rPr lang="de-DE" sz="1400" baseline="0" dirty="0">
                <a:solidFill>
                  <a:schemeClr val="tx1"/>
                </a:solidFill>
              </a:rPr>
              <a:t>Fußzeile</a:t>
            </a:r>
            <a:endParaRPr lang="de-DE" sz="1400" dirty="0">
              <a:solidFill>
                <a:schemeClr val="tx1"/>
              </a:solidFill>
            </a:endParaRPr>
          </a:p>
        </p:txBody>
      </p:sp>
      <p:grpSp>
        <p:nvGrpSpPr>
          <p:cNvPr id="43" name="Gruppieren 42"/>
          <p:cNvGrpSpPr/>
          <p:nvPr userDrawn="1"/>
        </p:nvGrpSpPr>
        <p:grpSpPr>
          <a:xfrm>
            <a:off x="4511824" y="4362980"/>
            <a:ext cx="887298" cy="1720855"/>
            <a:chOff x="5487584" y="4372990"/>
            <a:chExt cx="887298" cy="1720855"/>
          </a:xfrm>
        </p:grpSpPr>
        <p:sp>
          <p:nvSpPr>
            <p:cNvPr id="127" name="Rechteck 126"/>
            <p:cNvSpPr/>
            <p:nvPr userDrawn="1"/>
          </p:nvSpPr>
          <p:spPr>
            <a:xfrm>
              <a:off x="5487584" y="4372990"/>
              <a:ext cx="887298" cy="1720855"/>
            </a:xfrm>
            <a:prstGeom prst="rect">
              <a:avLst/>
            </a:prstGeom>
            <a:solidFill>
              <a:srgbClr val="D1D9D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000" tIns="0" rIns="1800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e-DE" sz="1000" baseline="0" dirty="0">
                  <a:solidFill>
                    <a:schemeClr val="tx1"/>
                  </a:solidFill>
                </a:rPr>
                <a:t>Fußzeile</a:t>
              </a:r>
              <a:br>
                <a:rPr lang="de-DE" sz="1000" baseline="0" dirty="0">
                  <a:solidFill>
                    <a:schemeClr val="tx1"/>
                  </a:solidFill>
                </a:rPr>
              </a:br>
              <a:r>
                <a:rPr lang="de-DE" sz="1000" dirty="0">
                  <a:solidFill>
                    <a:schemeClr val="tx1"/>
                  </a:solidFill>
                </a:rPr>
                <a:t>verschoben</a:t>
              </a:r>
              <a:r>
                <a:rPr lang="de-DE" sz="1000" baseline="0" dirty="0">
                  <a:solidFill>
                    <a:schemeClr val="tx1"/>
                  </a:solidFill>
                </a:rPr>
                <a:t> </a:t>
              </a:r>
              <a:br>
                <a:rPr lang="de-DE" sz="1000" baseline="0" dirty="0">
                  <a:solidFill>
                    <a:schemeClr val="tx1"/>
                  </a:solidFill>
                </a:rPr>
              </a:br>
              <a:r>
                <a:rPr lang="de-DE" sz="1000" baseline="0" dirty="0">
                  <a:solidFill>
                    <a:schemeClr val="tx1"/>
                  </a:solidFill>
                </a:rPr>
                <a:t>gelöscht</a:t>
              </a:r>
              <a:br>
                <a:rPr lang="de-DE" sz="1000" baseline="0" dirty="0">
                  <a:solidFill>
                    <a:schemeClr val="tx1"/>
                  </a:solidFill>
                </a:rPr>
              </a:br>
              <a:r>
                <a:rPr lang="de-DE" sz="1000" baseline="0" dirty="0">
                  <a:solidFill>
                    <a:schemeClr val="tx1"/>
                  </a:solidFill>
                </a:rPr>
                <a:t>???</a:t>
              </a:r>
            </a:p>
            <a:p>
              <a:pPr algn="ctr"/>
              <a:r>
                <a:rPr lang="de-DE" sz="1000" baseline="0" dirty="0">
                  <a:solidFill>
                    <a:schemeClr val="tx1"/>
                  </a:solidFill>
                </a:rPr>
                <a:t>Folie zurück setzen</a:t>
              </a:r>
            </a:p>
            <a:p>
              <a:pPr algn="ctr"/>
              <a:r>
                <a:rPr lang="de-DE" sz="1000" dirty="0">
                  <a:solidFill>
                    <a:schemeClr val="tx1"/>
                  </a:solidFill>
                </a:rPr>
                <a:t>Inhalt bleibt unbeeinflusst!</a:t>
              </a:r>
            </a:p>
          </p:txBody>
        </p:sp>
        <p:cxnSp>
          <p:nvCxnSpPr>
            <p:cNvPr id="129" name="Gewinkelter Verbinder 128"/>
            <p:cNvCxnSpPr/>
            <p:nvPr userDrawn="1"/>
          </p:nvCxnSpPr>
          <p:spPr>
            <a:xfrm>
              <a:off x="5931233" y="5122283"/>
              <a:ext cx="0" cy="144000"/>
            </a:xfrm>
            <a:prstGeom prst="straightConnector1">
              <a:avLst/>
            </a:prstGeom>
            <a:ln w="19050">
              <a:solidFill>
                <a:schemeClr val="bg1">
                  <a:lumMod val="75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Gewinkelter Verbinder 128"/>
            <p:cNvCxnSpPr/>
            <p:nvPr userDrawn="1"/>
          </p:nvCxnSpPr>
          <p:spPr>
            <a:xfrm>
              <a:off x="5931233" y="5526773"/>
              <a:ext cx="0" cy="144000"/>
            </a:xfrm>
            <a:prstGeom prst="straightConnector1">
              <a:avLst/>
            </a:prstGeom>
            <a:ln w="19050">
              <a:solidFill>
                <a:schemeClr val="bg1">
                  <a:lumMod val="75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8" name="Grafik 7"/>
          <p:cNvPicPr>
            <a:picLocks noChangeAspect="1"/>
          </p:cNvPicPr>
          <p:nvPr userDrawn="1"/>
        </p:nvPicPr>
        <p:blipFill>
          <a:blip r:embed="rId13"/>
          <a:stretch>
            <a:fillRect/>
          </a:stretch>
        </p:blipFill>
        <p:spPr>
          <a:xfrm>
            <a:off x="1814655" y="4362981"/>
            <a:ext cx="2697228" cy="1730865"/>
          </a:xfrm>
          <a:prstGeom prst="rect">
            <a:avLst/>
          </a:prstGeom>
        </p:spPr>
      </p:pic>
      <p:pic>
        <p:nvPicPr>
          <p:cNvPr id="41" name="Grafik 40"/>
          <p:cNvPicPr>
            <a:picLocks noChangeAspect="1"/>
          </p:cNvPicPr>
          <p:nvPr userDrawn="1"/>
        </p:nvPicPr>
        <p:blipFill>
          <a:blip r:embed="rId14"/>
          <a:stretch>
            <a:fillRect/>
          </a:stretch>
        </p:blipFill>
        <p:spPr>
          <a:xfrm>
            <a:off x="5399063" y="4362980"/>
            <a:ext cx="906863" cy="1730865"/>
          </a:xfrm>
          <a:prstGeom prst="rect">
            <a:avLst/>
          </a:prstGeom>
        </p:spPr>
      </p:pic>
      <p:sp>
        <p:nvSpPr>
          <p:cNvPr id="157" name="Rechteck 156"/>
          <p:cNvSpPr/>
          <p:nvPr userDrawn="1"/>
        </p:nvSpPr>
        <p:spPr>
          <a:xfrm>
            <a:off x="8264368" y="1410980"/>
            <a:ext cx="1530000" cy="2807172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45720" rIns="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de-DE" sz="1400" b="0" dirty="0">
              <a:solidFill>
                <a:schemeClr val="tx1"/>
              </a:solidFill>
            </a:endParaRPr>
          </a:p>
        </p:txBody>
      </p:sp>
      <p:sp>
        <p:nvSpPr>
          <p:cNvPr id="161" name="Stern mit 5 Zacken 160"/>
          <p:cNvSpPr/>
          <p:nvPr userDrawn="1"/>
        </p:nvSpPr>
        <p:spPr>
          <a:xfrm>
            <a:off x="9788075" y="4978351"/>
            <a:ext cx="576000" cy="576064"/>
          </a:xfrm>
          <a:prstGeom prst="star5">
            <a:avLst/>
          </a:prstGeom>
          <a:solidFill>
            <a:srgbClr val="B0BCC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rgbClr val="97C139"/>
              </a:buClr>
            </a:pPr>
            <a:endParaRPr lang="de-DE" dirty="0" err="1">
              <a:solidFill>
                <a:schemeClr val="tx1"/>
              </a:solidFill>
            </a:endParaRPr>
          </a:p>
        </p:txBody>
      </p:sp>
      <p:sp>
        <p:nvSpPr>
          <p:cNvPr id="70" name="Ellipse 69"/>
          <p:cNvSpPr/>
          <p:nvPr userDrawn="1"/>
        </p:nvSpPr>
        <p:spPr>
          <a:xfrm>
            <a:off x="10651602" y="5118975"/>
            <a:ext cx="432000" cy="432000"/>
          </a:xfrm>
          <a:prstGeom prst="ellipse">
            <a:avLst/>
          </a:prstGeom>
          <a:solidFill>
            <a:srgbClr val="B0BCC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rgbClr val="97C139"/>
              </a:buClr>
            </a:pPr>
            <a:endParaRPr lang="de-DE" dirty="0" err="1">
              <a:solidFill>
                <a:schemeClr val="tx1"/>
              </a:solidFill>
            </a:endParaRPr>
          </a:p>
        </p:txBody>
      </p:sp>
      <p:sp>
        <p:nvSpPr>
          <p:cNvPr id="68" name="Rechteck 67"/>
          <p:cNvSpPr/>
          <p:nvPr userDrawn="1"/>
        </p:nvSpPr>
        <p:spPr>
          <a:xfrm>
            <a:off x="10197829" y="4861893"/>
            <a:ext cx="496495" cy="510582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rgbClr val="97C139"/>
              </a:buClr>
            </a:pPr>
            <a:endParaRPr lang="de-DE" dirty="0" err="1">
              <a:solidFill>
                <a:schemeClr val="tx1"/>
              </a:solidFill>
            </a:endParaRPr>
          </a:p>
        </p:txBody>
      </p:sp>
      <p:sp>
        <p:nvSpPr>
          <p:cNvPr id="163" name="Rechteck 162"/>
          <p:cNvSpPr/>
          <p:nvPr userDrawn="1"/>
        </p:nvSpPr>
        <p:spPr>
          <a:xfrm>
            <a:off x="9772376" y="5667842"/>
            <a:ext cx="1345636" cy="273572"/>
          </a:xfrm>
          <a:prstGeom prst="rect">
            <a:avLst/>
          </a:prstGeom>
          <a:solidFill>
            <a:srgbClr val="D1D9D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000" tIns="0" rIns="1800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000" baseline="0" dirty="0">
                <a:solidFill>
                  <a:schemeClr val="tx1"/>
                </a:solidFill>
              </a:rPr>
              <a:t>Füllfarbe definiert eine Form hinreichend!</a:t>
            </a:r>
          </a:p>
        </p:txBody>
      </p:sp>
      <p:grpSp>
        <p:nvGrpSpPr>
          <p:cNvPr id="185" name="Gruppieren 184"/>
          <p:cNvGrpSpPr/>
          <p:nvPr userDrawn="1"/>
        </p:nvGrpSpPr>
        <p:grpSpPr>
          <a:xfrm>
            <a:off x="6460110" y="1407527"/>
            <a:ext cx="1530001" cy="2810625"/>
            <a:chOff x="6460110" y="1407527"/>
            <a:chExt cx="1530001" cy="2810625"/>
          </a:xfrm>
        </p:grpSpPr>
        <p:sp>
          <p:nvSpPr>
            <p:cNvPr id="156" name="Rechteck 155"/>
            <p:cNvSpPr/>
            <p:nvPr userDrawn="1"/>
          </p:nvSpPr>
          <p:spPr>
            <a:xfrm>
              <a:off x="6460111" y="1410980"/>
              <a:ext cx="1530000" cy="2807172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45720" rIns="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de-DE" sz="1400" b="0" dirty="0">
                <a:solidFill>
                  <a:schemeClr val="tx1"/>
                </a:solidFill>
              </a:endParaRPr>
            </a:p>
          </p:txBody>
        </p:sp>
        <p:sp>
          <p:nvSpPr>
            <p:cNvPr id="164" name="Rechteck 163"/>
            <p:cNvSpPr/>
            <p:nvPr userDrawn="1"/>
          </p:nvSpPr>
          <p:spPr>
            <a:xfrm>
              <a:off x="6460110" y="1407527"/>
              <a:ext cx="1530000" cy="401518"/>
            </a:xfrm>
            <a:prstGeom prst="rect">
              <a:avLst/>
            </a:prstGeom>
            <a:solidFill>
              <a:srgbClr val="6A8A2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 anchorCtr="0"/>
            <a:lstStyle/>
            <a:p>
              <a:pPr algn="ctr">
                <a:spcBef>
                  <a:spcPts val="0"/>
                </a:spcBef>
              </a:pPr>
              <a:r>
                <a:rPr lang="de-DE" sz="1200" dirty="0">
                  <a:solidFill>
                    <a:schemeClr val="bg1"/>
                  </a:solidFill>
                </a:rPr>
                <a:t>FAPS-Grün dunkel</a:t>
              </a:r>
            </a:p>
            <a:p>
              <a:pPr algn="ctr">
                <a:spcBef>
                  <a:spcPts val="0"/>
                </a:spcBef>
              </a:pPr>
              <a:r>
                <a:rPr lang="de-DE" sz="1200" dirty="0">
                  <a:solidFill>
                    <a:schemeClr val="bg1"/>
                  </a:solidFill>
                </a:rPr>
                <a:t>106-138-34</a:t>
              </a:r>
            </a:p>
          </p:txBody>
        </p:sp>
        <p:sp>
          <p:nvSpPr>
            <p:cNvPr id="167" name="Rechteck 166"/>
            <p:cNvSpPr/>
            <p:nvPr userDrawn="1"/>
          </p:nvSpPr>
          <p:spPr>
            <a:xfrm>
              <a:off x="6460110" y="1889348"/>
              <a:ext cx="1530000" cy="401518"/>
            </a:xfrm>
            <a:prstGeom prst="rect">
              <a:avLst/>
            </a:prstGeom>
            <a:solidFill>
              <a:srgbClr val="3F5F4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 anchorCtr="0"/>
            <a:lstStyle/>
            <a:p>
              <a:pPr algn="ctr">
                <a:spcBef>
                  <a:spcPts val="0"/>
                </a:spcBef>
              </a:pPr>
              <a:r>
                <a:rPr lang="de-DE" sz="1200" dirty="0">
                  <a:solidFill>
                    <a:schemeClr val="bg1"/>
                  </a:solidFill>
                </a:rPr>
                <a:t>Grün dunkel</a:t>
              </a:r>
            </a:p>
            <a:p>
              <a:pPr algn="ctr">
                <a:spcBef>
                  <a:spcPts val="0"/>
                </a:spcBef>
              </a:pPr>
              <a:r>
                <a:rPr lang="de-DE" sz="1200" dirty="0">
                  <a:solidFill>
                    <a:schemeClr val="bg1"/>
                  </a:solidFill>
                </a:rPr>
                <a:t>63-95-68</a:t>
              </a:r>
            </a:p>
          </p:txBody>
        </p:sp>
        <p:sp>
          <p:nvSpPr>
            <p:cNvPr id="170" name="Rechteck 169"/>
            <p:cNvSpPr/>
            <p:nvPr userDrawn="1"/>
          </p:nvSpPr>
          <p:spPr>
            <a:xfrm>
              <a:off x="6460110" y="2371170"/>
              <a:ext cx="1530000" cy="401518"/>
            </a:xfrm>
            <a:prstGeom prst="rect">
              <a:avLst/>
            </a:prstGeom>
            <a:solidFill>
              <a:srgbClr val="00435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 anchorCtr="0"/>
            <a:lstStyle/>
            <a:p>
              <a:pPr algn="ctr">
                <a:spcBef>
                  <a:spcPts val="0"/>
                </a:spcBef>
              </a:pPr>
              <a:r>
                <a:rPr lang="de-DE" sz="1200" dirty="0">
                  <a:solidFill>
                    <a:schemeClr val="bg1"/>
                  </a:solidFill>
                </a:rPr>
                <a:t>Türkis dunkel</a:t>
              </a:r>
            </a:p>
            <a:p>
              <a:pPr algn="ctr">
                <a:spcBef>
                  <a:spcPts val="0"/>
                </a:spcBef>
              </a:pPr>
              <a:r>
                <a:rPr lang="de-DE" sz="1200" dirty="0">
                  <a:solidFill>
                    <a:schemeClr val="bg1"/>
                  </a:solidFill>
                </a:rPr>
                <a:t>0-67-89</a:t>
              </a:r>
            </a:p>
          </p:txBody>
        </p:sp>
        <p:sp>
          <p:nvSpPr>
            <p:cNvPr id="173" name="Rechteck 172"/>
            <p:cNvSpPr/>
            <p:nvPr userDrawn="1"/>
          </p:nvSpPr>
          <p:spPr>
            <a:xfrm>
              <a:off x="6460110" y="2852991"/>
              <a:ext cx="1530000" cy="401518"/>
            </a:xfrm>
            <a:prstGeom prst="rect">
              <a:avLst/>
            </a:prstGeom>
            <a:solidFill>
              <a:srgbClr val="041E4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 anchorCtr="0"/>
            <a:lstStyle/>
            <a:p>
              <a:pPr algn="ctr">
                <a:spcBef>
                  <a:spcPts val="0"/>
                </a:spcBef>
              </a:pPr>
              <a:r>
                <a:rPr lang="de-DE" sz="1200" dirty="0">
                  <a:solidFill>
                    <a:schemeClr val="bg1"/>
                  </a:solidFill>
                </a:rPr>
                <a:t>FAU-Blau</a:t>
              </a:r>
              <a:r>
                <a:rPr lang="de-DE" sz="1200" baseline="0" dirty="0">
                  <a:solidFill>
                    <a:schemeClr val="bg1"/>
                  </a:solidFill>
                </a:rPr>
                <a:t> </a:t>
              </a:r>
              <a:r>
                <a:rPr lang="de-DE" sz="1200" dirty="0">
                  <a:solidFill>
                    <a:schemeClr val="bg1"/>
                  </a:solidFill>
                </a:rPr>
                <a:t>dunkel</a:t>
              </a:r>
            </a:p>
            <a:p>
              <a:pPr algn="ctr">
                <a:spcBef>
                  <a:spcPts val="0"/>
                </a:spcBef>
              </a:pPr>
              <a:r>
                <a:rPr lang="de-DE" sz="1200" dirty="0">
                  <a:solidFill>
                    <a:schemeClr val="bg1"/>
                  </a:solidFill>
                </a:rPr>
                <a:t>4-30-66</a:t>
              </a:r>
            </a:p>
          </p:txBody>
        </p:sp>
        <p:sp>
          <p:nvSpPr>
            <p:cNvPr id="176" name="Rechteck 175"/>
            <p:cNvSpPr/>
            <p:nvPr userDrawn="1"/>
          </p:nvSpPr>
          <p:spPr>
            <a:xfrm>
              <a:off x="6460110" y="3334813"/>
              <a:ext cx="1530000" cy="401518"/>
            </a:xfrm>
            <a:prstGeom prst="rect">
              <a:avLst/>
            </a:prstGeom>
            <a:solidFill>
              <a:srgbClr val="95A2A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 anchorCtr="0"/>
            <a:lstStyle/>
            <a:p>
              <a:pPr algn="ctr">
                <a:spcBef>
                  <a:spcPts val="0"/>
                </a:spcBef>
              </a:pPr>
              <a:r>
                <a:rPr lang="de-DE" sz="1200" dirty="0">
                  <a:solidFill>
                    <a:schemeClr val="tx1"/>
                  </a:solidFill>
                </a:rPr>
                <a:t>Grau 1</a:t>
              </a:r>
            </a:p>
            <a:p>
              <a:pPr algn="ctr">
                <a:spcBef>
                  <a:spcPts val="0"/>
                </a:spcBef>
              </a:pPr>
              <a:r>
                <a:rPr lang="de-DE" sz="1200" dirty="0">
                  <a:solidFill>
                    <a:schemeClr val="tx1"/>
                  </a:solidFill>
                </a:rPr>
                <a:t>149-162-171</a:t>
              </a:r>
            </a:p>
          </p:txBody>
        </p:sp>
        <p:sp>
          <p:nvSpPr>
            <p:cNvPr id="179" name="Rechteck 178"/>
            <p:cNvSpPr/>
            <p:nvPr userDrawn="1"/>
          </p:nvSpPr>
          <p:spPr>
            <a:xfrm>
              <a:off x="6460110" y="3816634"/>
              <a:ext cx="1530000" cy="401518"/>
            </a:xfrm>
            <a:prstGeom prst="rect">
              <a:avLst/>
            </a:prstGeom>
            <a:solidFill>
              <a:srgbClr val="FFCB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 anchorCtr="0"/>
            <a:lstStyle/>
            <a:p>
              <a:pPr algn="ctr">
                <a:spcBef>
                  <a:spcPts val="0"/>
                </a:spcBef>
              </a:pPr>
              <a:r>
                <a:rPr lang="de-DE" sz="1200" dirty="0" err="1">
                  <a:solidFill>
                    <a:schemeClr val="tx1"/>
                  </a:solidFill>
                </a:rPr>
                <a:t>Sonderfa</a:t>
              </a:r>
              <a:r>
                <a:rPr lang="de-DE" sz="1200" dirty="0">
                  <a:solidFill>
                    <a:schemeClr val="tx1"/>
                  </a:solidFill>
                </a:rPr>
                <a:t>. Gelb</a:t>
              </a:r>
            </a:p>
            <a:p>
              <a:pPr algn="ctr">
                <a:spcBef>
                  <a:spcPts val="0"/>
                </a:spcBef>
              </a:pPr>
              <a:r>
                <a:rPr lang="de-DE" sz="1200" dirty="0">
                  <a:solidFill>
                    <a:schemeClr val="tx1"/>
                  </a:solidFill>
                </a:rPr>
                <a:t>255-203-0</a:t>
              </a:r>
            </a:p>
          </p:txBody>
        </p:sp>
      </p:grpSp>
      <p:grpSp>
        <p:nvGrpSpPr>
          <p:cNvPr id="184" name="Gruppieren 183"/>
          <p:cNvGrpSpPr/>
          <p:nvPr userDrawn="1"/>
        </p:nvGrpSpPr>
        <p:grpSpPr>
          <a:xfrm>
            <a:off x="8067537" y="1407527"/>
            <a:ext cx="1530001" cy="2810625"/>
            <a:chOff x="8085059" y="1407527"/>
            <a:chExt cx="1530001" cy="2810625"/>
          </a:xfrm>
        </p:grpSpPr>
        <p:sp>
          <p:nvSpPr>
            <p:cNvPr id="165" name="Rechteck 164"/>
            <p:cNvSpPr/>
            <p:nvPr userDrawn="1"/>
          </p:nvSpPr>
          <p:spPr>
            <a:xfrm>
              <a:off x="8085060" y="1407527"/>
              <a:ext cx="1530000" cy="401518"/>
            </a:xfrm>
            <a:prstGeom prst="rect">
              <a:avLst/>
            </a:prstGeom>
            <a:solidFill>
              <a:srgbClr val="97C13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 anchorCtr="0"/>
            <a:lstStyle/>
            <a:p>
              <a:pPr algn="ctr">
                <a:spcBef>
                  <a:spcPts val="0"/>
                </a:spcBef>
              </a:pPr>
              <a:r>
                <a:rPr lang="de-DE" sz="1200" dirty="0">
                  <a:solidFill>
                    <a:schemeClr val="tx1"/>
                  </a:solidFill>
                </a:rPr>
                <a:t>FAPS-Grün</a:t>
              </a:r>
            </a:p>
            <a:p>
              <a:pPr algn="ctr">
                <a:spcBef>
                  <a:spcPts val="0"/>
                </a:spcBef>
              </a:pPr>
              <a:r>
                <a:rPr lang="de-DE" sz="1200" dirty="0">
                  <a:solidFill>
                    <a:schemeClr val="tx1"/>
                  </a:solidFill>
                </a:rPr>
                <a:t>151-193-57</a:t>
              </a:r>
            </a:p>
          </p:txBody>
        </p:sp>
        <p:sp>
          <p:nvSpPr>
            <p:cNvPr id="168" name="Rechteck 167"/>
            <p:cNvSpPr/>
            <p:nvPr userDrawn="1"/>
          </p:nvSpPr>
          <p:spPr>
            <a:xfrm>
              <a:off x="8085059" y="1889348"/>
              <a:ext cx="1530000" cy="401518"/>
            </a:xfrm>
            <a:prstGeom prst="rect">
              <a:avLst/>
            </a:prstGeom>
            <a:solidFill>
              <a:srgbClr val="658D6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 anchorCtr="0"/>
            <a:lstStyle/>
            <a:p>
              <a:pPr algn="ctr">
                <a:spcBef>
                  <a:spcPts val="0"/>
                </a:spcBef>
              </a:pPr>
              <a:r>
                <a:rPr lang="de-DE" sz="1200" dirty="0">
                  <a:solidFill>
                    <a:schemeClr val="bg1"/>
                  </a:solidFill>
                </a:rPr>
                <a:t>Hausfarbe</a:t>
              </a:r>
              <a:r>
                <a:rPr lang="de-DE" sz="1200" baseline="0" dirty="0">
                  <a:solidFill>
                    <a:schemeClr val="bg1"/>
                  </a:solidFill>
                </a:rPr>
                <a:t> </a:t>
              </a:r>
              <a:r>
                <a:rPr lang="de-DE" sz="1200" dirty="0">
                  <a:solidFill>
                    <a:schemeClr val="bg1"/>
                  </a:solidFill>
                </a:rPr>
                <a:t>Grün</a:t>
              </a:r>
            </a:p>
            <a:p>
              <a:pPr algn="ctr">
                <a:spcBef>
                  <a:spcPts val="0"/>
                </a:spcBef>
              </a:pPr>
              <a:r>
                <a:rPr lang="de-DE" sz="1200" dirty="0">
                  <a:solidFill>
                    <a:schemeClr val="bg1"/>
                  </a:solidFill>
                </a:rPr>
                <a:t>101-141-103</a:t>
              </a:r>
            </a:p>
          </p:txBody>
        </p:sp>
        <p:sp>
          <p:nvSpPr>
            <p:cNvPr id="171" name="Rechteck 170"/>
            <p:cNvSpPr/>
            <p:nvPr userDrawn="1"/>
          </p:nvSpPr>
          <p:spPr>
            <a:xfrm>
              <a:off x="8085059" y="2371170"/>
              <a:ext cx="1530000" cy="401518"/>
            </a:xfrm>
            <a:prstGeom prst="rect">
              <a:avLst/>
            </a:prstGeom>
            <a:solidFill>
              <a:srgbClr val="34677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 anchorCtr="0"/>
            <a:lstStyle/>
            <a:p>
              <a:pPr algn="ctr">
                <a:spcBef>
                  <a:spcPts val="0"/>
                </a:spcBef>
              </a:pPr>
              <a:r>
                <a:rPr lang="de-DE" sz="1200" dirty="0">
                  <a:solidFill>
                    <a:schemeClr val="bg1"/>
                  </a:solidFill>
                </a:rPr>
                <a:t>Hausfarbe Türkis</a:t>
              </a:r>
            </a:p>
            <a:p>
              <a:pPr algn="ctr">
                <a:spcBef>
                  <a:spcPts val="0"/>
                </a:spcBef>
              </a:pPr>
              <a:r>
                <a:rPr lang="de-DE" sz="1200" dirty="0">
                  <a:solidFill>
                    <a:schemeClr val="bg1"/>
                  </a:solidFill>
                </a:rPr>
                <a:t>52-103-125</a:t>
              </a:r>
            </a:p>
          </p:txBody>
        </p:sp>
        <p:sp>
          <p:nvSpPr>
            <p:cNvPr id="174" name="Rechteck 173"/>
            <p:cNvSpPr/>
            <p:nvPr userDrawn="1"/>
          </p:nvSpPr>
          <p:spPr>
            <a:xfrm>
              <a:off x="8085059" y="2852991"/>
              <a:ext cx="1530000" cy="401518"/>
            </a:xfrm>
            <a:prstGeom prst="rect">
              <a:avLst/>
            </a:prstGeom>
            <a:solidFill>
              <a:srgbClr val="002F6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 anchorCtr="0"/>
            <a:lstStyle/>
            <a:p>
              <a:pPr algn="ctr">
                <a:spcBef>
                  <a:spcPts val="0"/>
                </a:spcBef>
              </a:pPr>
              <a:r>
                <a:rPr lang="de-DE" sz="1200" dirty="0">
                  <a:solidFill>
                    <a:schemeClr val="bg1"/>
                  </a:solidFill>
                </a:rPr>
                <a:t>FAU-Blau</a:t>
              </a:r>
            </a:p>
            <a:p>
              <a:pPr algn="ctr">
                <a:spcBef>
                  <a:spcPts val="0"/>
                </a:spcBef>
              </a:pPr>
              <a:r>
                <a:rPr lang="de-DE" sz="1200" b="0" dirty="0">
                  <a:solidFill>
                    <a:schemeClr val="bg1"/>
                  </a:solidFill>
                </a:rPr>
                <a:t>0-47-108</a:t>
              </a:r>
            </a:p>
          </p:txBody>
        </p:sp>
        <p:sp>
          <p:nvSpPr>
            <p:cNvPr id="177" name="Rechteck 176"/>
            <p:cNvSpPr/>
            <p:nvPr userDrawn="1"/>
          </p:nvSpPr>
          <p:spPr>
            <a:xfrm>
              <a:off x="8085059" y="3334813"/>
              <a:ext cx="1530000" cy="401518"/>
            </a:xfrm>
            <a:prstGeom prst="rect">
              <a:avLst/>
            </a:prstGeom>
            <a:solidFill>
              <a:srgbClr val="B0BCC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 anchorCtr="0"/>
            <a:lstStyle/>
            <a:p>
              <a:pPr algn="ctr">
                <a:spcBef>
                  <a:spcPts val="0"/>
                </a:spcBef>
              </a:pPr>
              <a:r>
                <a:rPr lang="de-DE" sz="1200" dirty="0">
                  <a:solidFill>
                    <a:schemeClr val="tx1"/>
                  </a:solidFill>
                </a:rPr>
                <a:t>Grau 2</a:t>
              </a:r>
            </a:p>
            <a:p>
              <a:pPr algn="ctr">
                <a:spcBef>
                  <a:spcPts val="0"/>
                </a:spcBef>
              </a:pPr>
              <a:r>
                <a:rPr lang="de-DE" sz="1200" dirty="0">
                  <a:solidFill>
                    <a:schemeClr val="tx1"/>
                  </a:solidFill>
                </a:rPr>
                <a:t>176-188-196</a:t>
              </a:r>
            </a:p>
          </p:txBody>
        </p:sp>
        <p:sp>
          <p:nvSpPr>
            <p:cNvPr id="180" name="Rechteck 179"/>
            <p:cNvSpPr/>
            <p:nvPr userDrawn="1"/>
          </p:nvSpPr>
          <p:spPr>
            <a:xfrm>
              <a:off x="8085060" y="3816634"/>
              <a:ext cx="1530000" cy="401518"/>
            </a:xfrm>
            <a:prstGeom prst="rect">
              <a:avLst/>
            </a:prstGeom>
            <a:solidFill>
              <a:srgbClr val="F5821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 anchorCtr="0"/>
            <a:lstStyle/>
            <a:p>
              <a:pPr algn="ctr">
                <a:spcBef>
                  <a:spcPts val="0"/>
                </a:spcBef>
              </a:pPr>
              <a:r>
                <a:rPr lang="de-DE" sz="1200" dirty="0" err="1">
                  <a:solidFill>
                    <a:schemeClr val="bg1"/>
                  </a:solidFill>
                </a:rPr>
                <a:t>Sonderfa</a:t>
              </a:r>
              <a:r>
                <a:rPr lang="de-DE" sz="1200" dirty="0">
                  <a:solidFill>
                    <a:schemeClr val="bg1"/>
                  </a:solidFill>
                </a:rPr>
                <a:t>. Orange</a:t>
              </a:r>
            </a:p>
            <a:p>
              <a:pPr algn="ctr">
                <a:spcBef>
                  <a:spcPts val="0"/>
                </a:spcBef>
              </a:pPr>
              <a:r>
                <a:rPr lang="de-DE" sz="1200" dirty="0">
                  <a:solidFill>
                    <a:schemeClr val="bg1"/>
                  </a:solidFill>
                </a:rPr>
                <a:t>245-130-31</a:t>
              </a:r>
            </a:p>
          </p:txBody>
        </p:sp>
      </p:grpSp>
      <p:grpSp>
        <p:nvGrpSpPr>
          <p:cNvPr id="183" name="Gruppieren 182"/>
          <p:cNvGrpSpPr/>
          <p:nvPr userDrawn="1"/>
        </p:nvGrpSpPr>
        <p:grpSpPr>
          <a:xfrm>
            <a:off x="9674964" y="1407527"/>
            <a:ext cx="1530000" cy="2810625"/>
            <a:chOff x="9674964" y="1407527"/>
            <a:chExt cx="1530000" cy="2810625"/>
          </a:xfrm>
        </p:grpSpPr>
        <p:sp>
          <p:nvSpPr>
            <p:cNvPr id="159" name="Rechteck 158"/>
            <p:cNvSpPr/>
            <p:nvPr userDrawn="1"/>
          </p:nvSpPr>
          <p:spPr>
            <a:xfrm>
              <a:off x="9674964" y="1410980"/>
              <a:ext cx="1530000" cy="2807172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45720" rIns="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de-DE" sz="1400" b="0" dirty="0">
                <a:solidFill>
                  <a:schemeClr val="tx1"/>
                </a:solidFill>
              </a:endParaRPr>
            </a:p>
          </p:txBody>
        </p:sp>
        <p:sp>
          <p:nvSpPr>
            <p:cNvPr id="166" name="Rechteck 165"/>
            <p:cNvSpPr/>
            <p:nvPr userDrawn="1"/>
          </p:nvSpPr>
          <p:spPr>
            <a:xfrm>
              <a:off x="9674964" y="1407527"/>
              <a:ext cx="1530000" cy="401518"/>
            </a:xfrm>
            <a:prstGeom prst="rect">
              <a:avLst/>
            </a:prstGeom>
            <a:solidFill>
              <a:srgbClr val="C5DE8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 anchorCtr="0"/>
            <a:lstStyle/>
            <a:p>
              <a:pPr algn="ctr">
                <a:spcBef>
                  <a:spcPts val="0"/>
                </a:spcBef>
              </a:pPr>
              <a:r>
                <a:rPr lang="de-DE" sz="1200" dirty="0">
                  <a:solidFill>
                    <a:schemeClr val="tx1"/>
                  </a:solidFill>
                </a:rPr>
                <a:t>FAPS-Grün hell</a:t>
              </a:r>
            </a:p>
            <a:p>
              <a:pPr algn="ctr">
                <a:spcBef>
                  <a:spcPts val="0"/>
                </a:spcBef>
              </a:pPr>
              <a:r>
                <a:rPr lang="de-DE" sz="1200" dirty="0">
                  <a:solidFill>
                    <a:schemeClr val="tx1"/>
                  </a:solidFill>
                </a:rPr>
                <a:t>197-222-137</a:t>
              </a:r>
            </a:p>
          </p:txBody>
        </p:sp>
        <p:sp>
          <p:nvSpPr>
            <p:cNvPr id="169" name="Rechteck 168"/>
            <p:cNvSpPr/>
            <p:nvPr userDrawn="1"/>
          </p:nvSpPr>
          <p:spPr>
            <a:xfrm>
              <a:off x="9674964" y="1889348"/>
              <a:ext cx="1530000" cy="401518"/>
            </a:xfrm>
            <a:prstGeom prst="rect">
              <a:avLst/>
            </a:prstGeom>
            <a:solidFill>
              <a:srgbClr val="69C18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 anchorCtr="0"/>
            <a:lstStyle/>
            <a:p>
              <a:pPr algn="ctr">
                <a:spcBef>
                  <a:spcPts val="0"/>
                </a:spcBef>
              </a:pPr>
              <a:r>
                <a:rPr lang="de-DE" sz="1200" dirty="0">
                  <a:solidFill>
                    <a:schemeClr val="tx1"/>
                  </a:solidFill>
                </a:rPr>
                <a:t>Grün hell</a:t>
              </a:r>
            </a:p>
            <a:p>
              <a:pPr algn="ctr">
                <a:spcBef>
                  <a:spcPts val="0"/>
                </a:spcBef>
              </a:pPr>
              <a:r>
                <a:rPr lang="de-DE" sz="1200" dirty="0">
                  <a:solidFill>
                    <a:schemeClr val="tx1"/>
                  </a:solidFill>
                </a:rPr>
                <a:t>97-192-134</a:t>
              </a:r>
            </a:p>
          </p:txBody>
        </p:sp>
        <p:sp>
          <p:nvSpPr>
            <p:cNvPr id="172" name="Rechteck 171"/>
            <p:cNvSpPr/>
            <p:nvPr userDrawn="1"/>
          </p:nvSpPr>
          <p:spPr>
            <a:xfrm>
              <a:off x="9674964" y="2371170"/>
              <a:ext cx="1530000" cy="401518"/>
            </a:xfrm>
            <a:prstGeom prst="rect">
              <a:avLst/>
            </a:prstGeom>
            <a:solidFill>
              <a:srgbClr val="779FB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 anchorCtr="0"/>
            <a:lstStyle/>
            <a:p>
              <a:pPr algn="ctr">
                <a:spcBef>
                  <a:spcPts val="0"/>
                </a:spcBef>
              </a:pPr>
              <a:r>
                <a:rPr lang="de-DE" sz="1200" dirty="0">
                  <a:solidFill>
                    <a:schemeClr val="tx1"/>
                  </a:solidFill>
                </a:rPr>
                <a:t>TF Metallic</a:t>
              </a:r>
            </a:p>
            <a:p>
              <a:pPr algn="ctr">
                <a:spcBef>
                  <a:spcPts val="0"/>
                </a:spcBef>
              </a:pPr>
              <a:r>
                <a:rPr lang="de-DE" sz="1200" dirty="0">
                  <a:solidFill>
                    <a:schemeClr val="tx1"/>
                  </a:solidFill>
                </a:rPr>
                <a:t>119-159-181</a:t>
              </a:r>
            </a:p>
          </p:txBody>
        </p:sp>
        <p:sp>
          <p:nvSpPr>
            <p:cNvPr id="175" name="Rechteck 174"/>
            <p:cNvSpPr/>
            <p:nvPr userDrawn="1"/>
          </p:nvSpPr>
          <p:spPr>
            <a:xfrm>
              <a:off x="9674964" y="2852991"/>
              <a:ext cx="1530000" cy="401518"/>
            </a:xfrm>
            <a:prstGeom prst="rect">
              <a:avLst/>
            </a:prstGeom>
            <a:solidFill>
              <a:srgbClr val="6C8CC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 anchorCtr="0"/>
            <a:lstStyle/>
            <a:p>
              <a:pPr algn="ctr">
                <a:spcBef>
                  <a:spcPts val="0"/>
                </a:spcBef>
              </a:pPr>
              <a:r>
                <a:rPr lang="de-DE" sz="1200" dirty="0">
                  <a:solidFill>
                    <a:schemeClr val="tx1"/>
                  </a:solidFill>
                </a:rPr>
                <a:t>FAU-Blau hell</a:t>
              </a:r>
            </a:p>
            <a:p>
              <a:pPr algn="ctr">
                <a:spcBef>
                  <a:spcPts val="0"/>
                </a:spcBef>
              </a:pPr>
              <a:r>
                <a:rPr lang="de-DE" sz="1200" dirty="0">
                  <a:solidFill>
                    <a:schemeClr val="tx1"/>
                  </a:solidFill>
                </a:rPr>
                <a:t>108-140-199</a:t>
              </a:r>
            </a:p>
          </p:txBody>
        </p:sp>
        <p:sp>
          <p:nvSpPr>
            <p:cNvPr id="178" name="Rechteck 177"/>
            <p:cNvSpPr/>
            <p:nvPr userDrawn="1"/>
          </p:nvSpPr>
          <p:spPr>
            <a:xfrm>
              <a:off x="9674964" y="3334813"/>
              <a:ext cx="1530000" cy="401518"/>
            </a:xfrm>
            <a:prstGeom prst="rect">
              <a:avLst/>
            </a:prstGeom>
            <a:solidFill>
              <a:srgbClr val="D1D9D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 anchorCtr="0"/>
            <a:lstStyle/>
            <a:p>
              <a:pPr algn="ctr">
                <a:spcBef>
                  <a:spcPts val="0"/>
                </a:spcBef>
              </a:pPr>
              <a:r>
                <a:rPr lang="de-DE" sz="1200" dirty="0">
                  <a:solidFill>
                    <a:schemeClr val="tx1"/>
                  </a:solidFill>
                </a:rPr>
                <a:t>Grau 3</a:t>
              </a:r>
            </a:p>
            <a:p>
              <a:pPr algn="ctr">
                <a:spcBef>
                  <a:spcPts val="0"/>
                </a:spcBef>
              </a:pPr>
              <a:r>
                <a:rPr lang="de-DE" sz="1200" dirty="0">
                  <a:solidFill>
                    <a:schemeClr val="tx1"/>
                  </a:solidFill>
                </a:rPr>
                <a:t>209-217-222</a:t>
              </a:r>
            </a:p>
          </p:txBody>
        </p:sp>
        <p:sp>
          <p:nvSpPr>
            <p:cNvPr id="181" name="Rechteck 180"/>
            <p:cNvSpPr/>
            <p:nvPr userDrawn="1"/>
          </p:nvSpPr>
          <p:spPr>
            <a:xfrm>
              <a:off x="9674964" y="3816634"/>
              <a:ext cx="1530000" cy="401518"/>
            </a:xfrm>
            <a:prstGeom prst="rect">
              <a:avLst/>
            </a:prstGeom>
            <a:solidFill>
              <a:srgbClr val="DC1E2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 anchorCtr="0"/>
            <a:lstStyle/>
            <a:p>
              <a:pPr algn="ctr">
                <a:spcBef>
                  <a:spcPts val="0"/>
                </a:spcBef>
              </a:pPr>
              <a:r>
                <a:rPr lang="de-DE" sz="1200" dirty="0" err="1">
                  <a:solidFill>
                    <a:schemeClr val="bg1"/>
                  </a:solidFill>
                </a:rPr>
                <a:t>Sonderfa</a:t>
              </a:r>
              <a:r>
                <a:rPr lang="de-DE" sz="1200" dirty="0">
                  <a:solidFill>
                    <a:schemeClr val="bg1"/>
                  </a:solidFill>
                </a:rPr>
                <a:t>. </a:t>
              </a:r>
              <a:r>
                <a:rPr lang="de-DE" sz="1200" dirty="0" err="1">
                  <a:solidFill>
                    <a:schemeClr val="bg1"/>
                  </a:solidFill>
                </a:rPr>
                <a:t>Echtrot</a:t>
              </a:r>
              <a:endParaRPr lang="de-DE" sz="1200" dirty="0">
                <a:solidFill>
                  <a:schemeClr val="bg1"/>
                </a:solidFill>
              </a:endParaRPr>
            </a:p>
            <a:p>
              <a:pPr algn="ctr">
                <a:spcBef>
                  <a:spcPts val="0"/>
                </a:spcBef>
              </a:pPr>
              <a:r>
                <a:rPr lang="de-DE" sz="1200" dirty="0">
                  <a:solidFill>
                    <a:schemeClr val="bg1"/>
                  </a:solidFill>
                </a:rPr>
                <a:t>220-30-38</a:t>
              </a:r>
            </a:p>
          </p:txBody>
        </p:sp>
      </p:grpSp>
      <p:grpSp>
        <p:nvGrpSpPr>
          <p:cNvPr id="7" name="Gruppieren 6"/>
          <p:cNvGrpSpPr/>
          <p:nvPr userDrawn="1"/>
        </p:nvGrpSpPr>
        <p:grpSpPr>
          <a:xfrm>
            <a:off x="7500004" y="4646558"/>
            <a:ext cx="2000544" cy="1294855"/>
            <a:chOff x="7500004" y="4646559"/>
            <a:chExt cx="1875600" cy="1206000"/>
          </a:xfrm>
        </p:grpSpPr>
        <p:pic>
          <p:nvPicPr>
            <p:cNvPr id="5" name="Grafik 4"/>
            <p:cNvPicPr>
              <a:picLocks noChangeAspect="1"/>
            </p:cNvPicPr>
            <p:nvPr userDrawn="1"/>
          </p:nvPicPr>
          <p:blipFill rotWithShape="1">
            <a:blip r:embed="rId15"/>
            <a:srcRect t="2" r="3019" b="33055"/>
            <a:stretch/>
          </p:blipFill>
          <p:spPr>
            <a:xfrm>
              <a:off x="7500004" y="4646559"/>
              <a:ext cx="1278000" cy="1206000"/>
            </a:xfrm>
            <a:prstGeom prst="rect">
              <a:avLst/>
            </a:prstGeom>
          </p:spPr>
        </p:pic>
        <p:sp>
          <p:nvSpPr>
            <p:cNvPr id="6" name="Rechteck 5"/>
            <p:cNvSpPr/>
            <p:nvPr userDrawn="1"/>
          </p:nvSpPr>
          <p:spPr>
            <a:xfrm>
              <a:off x="8778004" y="4655974"/>
              <a:ext cx="595908" cy="119658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buClr>
                  <a:srgbClr val="97C139"/>
                </a:buClr>
              </a:pPr>
              <a:endParaRPr lang="de-DE" dirty="0" err="1">
                <a:solidFill>
                  <a:schemeClr val="tx1"/>
                </a:solidFill>
              </a:endParaRPr>
            </a:p>
          </p:txBody>
        </p:sp>
        <p:pic>
          <p:nvPicPr>
            <p:cNvPr id="128" name="Grafik 127"/>
            <p:cNvPicPr>
              <a:picLocks noChangeAspect="1"/>
            </p:cNvPicPr>
            <p:nvPr userDrawn="1"/>
          </p:nvPicPr>
          <p:blipFill rotWithShape="1">
            <a:blip r:embed="rId15"/>
            <a:srcRect l="1374" t="66984" r="53279" b="7041"/>
            <a:stretch/>
          </p:blipFill>
          <p:spPr>
            <a:xfrm>
              <a:off x="8778004" y="4787275"/>
              <a:ext cx="597600" cy="468000"/>
            </a:xfrm>
            <a:prstGeom prst="rect">
              <a:avLst/>
            </a:prstGeom>
          </p:spPr>
        </p:pic>
        <p:pic>
          <p:nvPicPr>
            <p:cNvPr id="133" name="Grafik 132"/>
            <p:cNvPicPr>
              <a:picLocks noChangeAspect="1"/>
            </p:cNvPicPr>
            <p:nvPr userDrawn="1"/>
          </p:nvPicPr>
          <p:blipFill rotWithShape="1">
            <a:blip r:embed="rId15"/>
            <a:srcRect l="45902" t="66984" r="7659" b="7041"/>
            <a:stretch/>
          </p:blipFill>
          <p:spPr>
            <a:xfrm>
              <a:off x="8761912" y="5320597"/>
              <a:ext cx="612000" cy="468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4893948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96">
          <p15:clr>
            <a:srgbClr val="A4A3A4"/>
          </p15:clr>
        </p15:guide>
        <p15:guide id="2" orient="horz" pos="2478">
          <p15:clr>
            <a:srgbClr val="A4A3A4"/>
          </p15:clr>
        </p15:guide>
        <p15:guide id="3" orient="horz" pos="2387">
          <p15:clr>
            <a:srgbClr val="A4A3A4"/>
          </p15:clr>
        </p15:guide>
        <p15:guide id="4" pos="3840">
          <p15:clr>
            <a:srgbClr val="A4A3A4"/>
          </p15:clr>
        </p15:guide>
        <p15:guide id="6" pos="3749">
          <p15:clr>
            <a:srgbClr val="A4A3A4"/>
          </p15:clr>
        </p15:guide>
        <p15:guide id="8" orient="horz" pos="799">
          <p15:clr>
            <a:srgbClr val="A4A3A4"/>
          </p15:clr>
        </p15:guide>
        <p15:guide id="9" pos="2797">
          <p15:clr>
            <a:srgbClr val="FBAE40"/>
          </p15:clr>
        </p15:guide>
        <p15:guide id="10" pos="3931">
          <p15:clr>
            <a:srgbClr val="A4A3A4"/>
          </p15:clr>
        </p15:guide>
        <p15:guide id="11" pos="2615">
          <p15:clr>
            <a:srgbClr val="FBAE40"/>
          </p15:clr>
        </p15:guide>
        <p15:guide id="12" pos="2230">
          <p15:clr>
            <a:srgbClr val="5ACBF0"/>
          </p15:clr>
        </p15:guide>
        <p15:guide id="13" pos="2048">
          <p15:clr>
            <a:srgbClr val="5ACBF0"/>
          </p15:clr>
        </p15:guide>
        <p15:guide id="14" pos="4883">
          <p15:clr>
            <a:srgbClr val="FBAE40"/>
          </p15:clr>
        </p15:guide>
        <p15:guide id="15" pos="5065">
          <p15:clr>
            <a:srgbClr val="FBAE40"/>
          </p15:clr>
        </p15:guide>
        <p15:guide id="16" pos="5450" userDrawn="1">
          <p15:clr>
            <a:srgbClr val="5ACBF0"/>
          </p15:clr>
        </p15:guide>
        <p15:guide id="17" pos="5632">
          <p15:clr>
            <a:srgbClr val="5ACBF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Lehrstuhl">
            <a:extLst>
              <a:ext uri="{FF2B5EF4-FFF2-40B4-BE49-F238E27FC236}">
                <a16:creationId xmlns:a16="http://schemas.microsoft.com/office/drawing/2014/main" id="{865F1AB1-09E4-48E8-BD15-25AFDFED92B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39788" y="4292600"/>
            <a:ext cx="2459969" cy="9787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5000"/>
              </a:lnSpc>
              <a:spcBef>
                <a:spcPct val="75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+mn-cs"/>
              </a:rPr>
              <a:t>Prof. Dr.-Ing. Jörg Franke</a:t>
            </a:r>
          </a:p>
          <a:p>
            <a:pPr marL="0" marR="0" lvl="0" indent="0" algn="l" defTabSz="914400" rtl="0" eaLnBrk="0" fontAlgn="base" latinLnBrk="0" hangingPunct="0">
              <a:lnSpc>
                <a:spcPct val="105000"/>
              </a:lnSpc>
              <a:spcBef>
                <a:spcPct val="75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+mn-cs"/>
              </a:rPr>
              <a:t>Institute for Factory Automation</a:t>
            </a:r>
            <a:b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+mn-cs"/>
              </a:rPr>
            </a:b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+mn-cs"/>
              </a:rPr>
              <a:t>and Production Systems</a:t>
            </a:r>
            <a:endParaRPr kumimoji="0" lang="de-DE" sz="1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  <a:p>
            <a:pPr marL="0" marR="0" lvl="0" indent="0" algn="l" defTabSz="914400" rtl="0" eaLnBrk="0" fontAlgn="base" latinLnBrk="0" hangingPunct="0">
              <a:lnSpc>
                <a:spcPct val="105000"/>
              </a:lnSpc>
              <a:spcBef>
                <a:spcPct val="75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+mn-cs"/>
              </a:rPr>
              <a:t>Friedrich-Alexander University Erlangen-Nuremberg</a:t>
            </a:r>
          </a:p>
        </p:txBody>
      </p:sp>
      <p:sp>
        <p:nvSpPr>
          <p:cNvPr id="9" name="Title Picture">
            <a:extLst>
              <a:ext uri="{FF2B5EF4-FFF2-40B4-BE49-F238E27FC236}">
                <a16:creationId xmlns:a16="http://schemas.microsoft.com/office/drawing/2014/main" id="{9D576FE6-05EC-4610-8B37-59904779AEF0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4076700"/>
          </a:xfrm>
          <a:custGeom>
            <a:avLst/>
            <a:gdLst>
              <a:gd name="connsiteX0" fmla="*/ 0 w 12192000"/>
              <a:gd name="connsiteY0" fmla="*/ 0 h 4076700"/>
              <a:gd name="connsiteX1" fmla="*/ 12192000 w 12192000"/>
              <a:gd name="connsiteY1" fmla="*/ 0 h 4076700"/>
              <a:gd name="connsiteX2" fmla="*/ 12192000 w 12192000"/>
              <a:gd name="connsiteY2" fmla="*/ 4076700 h 4076700"/>
              <a:gd name="connsiteX3" fmla="*/ 3071416 w 12192000"/>
              <a:gd name="connsiteY3" fmla="*/ 4076700 h 4076700"/>
              <a:gd name="connsiteX4" fmla="*/ 3071416 w 12192000"/>
              <a:gd name="connsiteY4" fmla="*/ 1844700 h 4076700"/>
              <a:gd name="connsiteX5" fmla="*/ 839416 w 12192000"/>
              <a:gd name="connsiteY5" fmla="*/ 1844700 h 4076700"/>
              <a:gd name="connsiteX6" fmla="*/ 839416 w 12192000"/>
              <a:gd name="connsiteY6" fmla="*/ 4076700 h 4076700"/>
              <a:gd name="connsiteX7" fmla="*/ 0 w 12192000"/>
              <a:gd name="connsiteY7" fmla="*/ 4076700 h 4076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4076700">
                <a:moveTo>
                  <a:pt x="0" y="0"/>
                </a:moveTo>
                <a:lnTo>
                  <a:pt x="12192000" y="0"/>
                </a:lnTo>
                <a:lnTo>
                  <a:pt x="12192000" y="4076700"/>
                </a:lnTo>
                <a:lnTo>
                  <a:pt x="3071416" y="4076700"/>
                </a:lnTo>
                <a:lnTo>
                  <a:pt x="3071416" y="1844700"/>
                </a:lnTo>
                <a:lnTo>
                  <a:pt x="839416" y="1844700"/>
                </a:lnTo>
                <a:lnTo>
                  <a:pt x="839416" y="4076700"/>
                </a:lnTo>
                <a:lnTo>
                  <a:pt x="0" y="4076700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36D99F1-B28E-47D9-8E8E-E14C6DF5F8FC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944213" y="4292600"/>
            <a:ext cx="6407999" cy="780983"/>
          </a:xfrm>
        </p:spPr>
        <p:txBody>
          <a:bodyPr anchor="t" anchorCtr="0">
            <a:noAutofit/>
          </a:bodyPr>
          <a:lstStyle>
            <a:lvl1pPr algn="l">
              <a:lnSpc>
                <a:spcPct val="110000"/>
              </a:lnSpc>
              <a:defRPr sz="2400"/>
            </a:lvl1pPr>
          </a:lstStyle>
          <a:p>
            <a:r>
              <a:rPr lang="en-US" noProof="0" dirty="0"/>
              <a:t>Presentation Title</a:t>
            </a:r>
          </a:p>
        </p:txBody>
      </p:sp>
      <p:sp>
        <p:nvSpPr>
          <p:cNvPr id="3" name="Untertitel 1">
            <a:extLst>
              <a:ext uri="{FF2B5EF4-FFF2-40B4-BE49-F238E27FC236}">
                <a16:creationId xmlns:a16="http://schemas.microsoft.com/office/drawing/2014/main" id="{FAC6BD1B-9849-451E-8BB2-53904153AB2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943475" y="5408613"/>
            <a:ext cx="6408738" cy="830997"/>
          </a:xfrm>
        </p:spPr>
        <p:txBody>
          <a:bodyPr wrap="square">
            <a:noAutofit/>
          </a:bodyPr>
          <a:lstStyle>
            <a:lvl1pPr marL="0" indent="0" algn="l">
              <a:spcBef>
                <a:spcPts val="0"/>
              </a:spcBef>
              <a:buNone/>
              <a:defRPr sz="18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 dirty="0"/>
              <a:t>Subtitle of Presentation: Reason, Client, Co-operation partner, Lecture</a:t>
            </a:r>
          </a:p>
        </p:txBody>
      </p:sp>
      <p:grpSp>
        <p:nvGrpSpPr>
          <p:cNvPr id="10" name="Gruppieren 9">
            <a:extLst>
              <a:ext uri="{FF2B5EF4-FFF2-40B4-BE49-F238E27FC236}">
                <a16:creationId xmlns:a16="http://schemas.microsoft.com/office/drawing/2014/main" id="{A076367C-AB7D-479E-A208-D24657615421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839788" y="1841252"/>
            <a:ext cx="2235447" cy="2235448"/>
            <a:chOff x="5757863" y="1597024"/>
            <a:chExt cx="1971675" cy="1971675"/>
          </a:xfrm>
        </p:grpSpPr>
        <p:sp>
          <p:nvSpPr>
            <p:cNvPr id="13" name="AutoShape 61">
              <a:extLst>
                <a:ext uri="{FF2B5EF4-FFF2-40B4-BE49-F238E27FC236}">
                  <a16:creationId xmlns:a16="http://schemas.microsoft.com/office/drawing/2014/main" id="{021B169B-3729-4188-95EC-DF427B093B39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5757863" y="1597024"/>
              <a:ext cx="1971675" cy="19716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Rectangle 63">
              <a:extLst>
                <a:ext uri="{FF2B5EF4-FFF2-40B4-BE49-F238E27FC236}">
                  <a16:creationId xmlns:a16="http://schemas.microsoft.com/office/drawing/2014/main" id="{DD3B038C-AB66-4A83-B4D7-6C3B1E091CD3}"/>
                </a:ext>
              </a:extLst>
            </p:cNvPr>
            <p:cNvSpPr>
              <a:spLocks noChangeAspect="1" noChangeArrowheads="1"/>
            </p:cNvSpPr>
            <p:nvPr/>
          </p:nvSpPr>
          <p:spPr bwMode="auto">
            <a:xfrm>
              <a:off x="5757863" y="1597024"/>
              <a:ext cx="1971675" cy="1971675"/>
            </a:xfrm>
            <a:prstGeom prst="rect">
              <a:avLst/>
            </a:prstGeom>
            <a:solidFill>
              <a:srgbClr val="97C139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" name="Freeform 64">
              <a:extLst>
                <a:ext uri="{FF2B5EF4-FFF2-40B4-BE49-F238E27FC236}">
                  <a16:creationId xmlns:a16="http://schemas.microsoft.com/office/drawing/2014/main" id="{A3EC7AD9-EFD9-4A37-9183-4C02724C53E0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5865813" y="1795463"/>
              <a:ext cx="1785938" cy="576263"/>
            </a:xfrm>
            <a:custGeom>
              <a:avLst/>
              <a:gdLst>
                <a:gd name="T0" fmla="*/ 880 w 4944"/>
                <a:gd name="T1" fmla="*/ 41 h 1592"/>
                <a:gd name="T2" fmla="*/ 0 w 4944"/>
                <a:gd name="T3" fmla="*/ 1553 h 1592"/>
                <a:gd name="T4" fmla="*/ 396 w 4944"/>
                <a:gd name="T5" fmla="*/ 960 h 1592"/>
                <a:gd name="T6" fmla="*/ 832 w 4944"/>
                <a:gd name="T7" fmla="*/ 628 h 1592"/>
                <a:gd name="T8" fmla="*/ 396 w 4944"/>
                <a:gd name="T9" fmla="*/ 376 h 1592"/>
                <a:gd name="T10" fmla="*/ 1923 w 4944"/>
                <a:gd name="T11" fmla="*/ 1290 h 1592"/>
                <a:gd name="T12" fmla="*/ 2448 w 4944"/>
                <a:gd name="T13" fmla="*/ 1553 h 1592"/>
                <a:gd name="T14" fmla="*/ 1437 w 4944"/>
                <a:gd name="T15" fmla="*/ 41 h 1592"/>
                <a:gd name="T16" fmla="*/ 1272 w 4944"/>
                <a:gd name="T17" fmla="*/ 1553 h 1592"/>
                <a:gd name="T18" fmla="*/ 1923 w 4944"/>
                <a:gd name="T19" fmla="*/ 1290 h 1592"/>
                <a:gd name="T20" fmla="*/ 1488 w 4944"/>
                <a:gd name="T21" fmla="*/ 990 h 1592"/>
                <a:gd name="T22" fmla="*/ 1655 w 4944"/>
                <a:gd name="T23" fmla="*/ 509 h 1592"/>
                <a:gd name="T24" fmla="*/ 2572 w 4944"/>
                <a:gd name="T25" fmla="*/ 1553 h 1592"/>
                <a:gd name="T26" fmla="*/ 2968 w 4944"/>
                <a:gd name="T27" fmla="*/ 1052 h 1592"/>
                <a:gd name="T28" fmla="*/ 3489 w 4944"/>
                <a:gd name="T29" fmla="*/ 999 h 1592"/>
                <a:gd name="T30" fmla="*/ 3734 w 4944"/>
                <a:gd name="T31" fmla="*/ 538 h 1592"/>
                <a:gd name="T32" fmla="*/ 3580 w 4944"/>
                <a:gd name="T33" fmla="*/ 163 h 1592"/>
                <a:gd name="T34" fmla="*/ 3179 w 4944"/>
                <a:gd name="T35" fmla="*/ 41 h 1592"/>
                <a:gd name="T36" fmla="*/ 2572 w 4944"/>
                <a:gd name="T37" fmla="*/ 1553 h 1592"/>
                <a:gd name="T38" fmla="*/ 3035 w 4944"/>
                <a:gd name="T39" fmla="*/ 357 h 1592"/>
                <a:gd name="T40" fmla="*/ 3237 w 4944"/>
                <a:gd name="T41" fmla="*/ 382 h 1592"/>
                <a:gd name="T42" fmla="*/ 3324 w 4944"/>
                <a:gd name="T43" fmla="*/ 552 h 1592"/>
                <a:gd name="T44" fmla="*/ 3232 w 4944"/>
                <a:gd name="T45" fmla="*/ 713 h 1592"/>
                <a:gd name="T46" fmla="*/ 3035 w 4944"/>
                <a:gd name="T47" fmla="*/ 736 h 1592"/>
                <a:gd name="T48" fmla="*/ 2968 w 4944"/>
                <a:gd name="T49" fmla="*/ 357 h 1592"/>
                <a:gd name="T50" fmla="*/ 4733 w 4944"/>
                <a:gd name="T51" fmla="*/ 60 h 1592"/>
                <a:gd name="T52" fmla="*/ 4403 w 4944"/>
                <a:gd name="T53" fmla="*/ 0 h 1592"/>
                <a:gd name="T54" fmla="*/ 4025 w 4944"/>
                <a:gd name="T55" fmla="*/ 140 h 1592"/>
                <a:gd name="T56" fmla="*/ 3878 w 4944"/>
                <a:gd name="T57" fmla="*/ 509 h 1592"/>
                <a:gd name="T58" fmla="*/ 3952 w 4944"/>
                <a:gd name="T59" fmla="*/ 766 h 1592"/>
                <a:gd name="T60" fmla="*/ 4151 w 4944"/>
                <a:gd name="T61" fmla="*/ 894 h 1592"/>
                <a:gd name="T62" fmla="*/ 4346 w 4944"/>
                <a:gd name="T63" fmla="*/ 953 h 1592"/>
                <a:gd name="T64" fmla="*/ 4472 w 4944"/>
                <a:gd name="T65" fmla="*/ 1008 h 1592"/>
                <a:gd name="T66" fmla="*/ 4531 w 4944"/>
                <a:gd name="T67" fmla="*/ 1109 h 1592"/>
                <a:gd name="T68" fmla="*/ 4472 w 4944"/>
                <a:gd name="T69" fmla="*/ 1224 h 1592"/>
                <a:gd name="T70" fmla="*/ 4339 w 4944"/>
                <a:gd name="T71" fmla="*/ 1260 h 1592"/>
                <a:gd name="T72" fmla="*/ 4092 w 4944"/>
                <a:gd name="T73" fmla="*/ 1185 h 1592"/>
                <a:gd name="T74" fmla="*/ 3814 w 4944"/>
                <a:gd name="T75" fmla="*/ 1420 h 1592"/>
                <a:gd name="T76" fmla="*/ 4163 w 4944"/>
                <a:gd name="T77" fmla="*/ 1572 h 1592"/>
                <a:gd name="T78" fmla="*/ 4506 w 4944"/>
                <a:gd name="T79" fmla="*/ 1579 h 1592"/>
                <a:gd name="T80" fmla="*/ 4786 w 4944"/>
                <a:gd name="T81" fmla="*/ 1450 h 1592"/>
                <a:gd name="T82" fmla="*/ 4931 w 4944"/>
                <a:gd name="T83" fmla="*/ 1194 h 1592"/>
                <a:gd name="T84" fmla="*/ 4917 w 4944"/>
                <a:gd name="T85" fmla="*/ 885 h 1592"/>
                <a:gd name="T86" fmla="*/ 4717 w 4944"/>
                <a:gd name="T87" fmla="*/ 688 h 1592"/>
                <a:gd name="T88" fmla="*/ 4467 w 4944"/>
                <a:gd name="T89" fmla="*/ 600 h 1592"/>
                <a:gd name="T90" fmla="*/ 4353 w 4944"/>
                <a:gd name="T91" fmla="*/ 555 h 1592"/>
                <a:gd name="T92" fmla="*/ 4291 w 4944"/>
                <a:gd name="T93" fmla="*/ 456 h 1592"/>
                <a:gd name="T94" fmla="*/ 4346 w 4944"/>
                <a:gd name="T95" fmla="*/ 362 h 1592"/>
                <a:gd name="T96" fmla="*/ 4460 w 4944"/>
                <a:gd name="T97" fmla="*/ 330 h 1592"/>
                <a:gd name="T98" fmla="*/ 4724 w 4944"/>
                <a:gd name="T99" fmla="*/ 431 h 15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4944" h="1592">
                  <a:moveTo>
                    <a:pt x="880" y="376"/>
                  </a:moveTo>
                  <a:lnTo>
                    <a:pt x="880" y="41"/>
                  </a:lnTo>
                  <a:lnTo>
                    <a:pt x="0" y="41"/>
                  </a:lnTo>
                  <a:lnTo>
                    <a:pt x="0" y="1553"/>
                  </a:lnTo>
                  <a:lnTo>
                    <a:pt x="396" y="1553"/>
                  </a:lnTo>
                  <a:lnTo>
                    <a:pt x="396" y="960"/>
                  </a:lnTo>
                  <a:lnTo>
                    <a:pt x="832" y="960"/>
                  </a:lnTo>
                  <a:lnTo>
                    <a:pt x="832" y="628"/>
                  </a:lnTo>
                  <a:lnTo>
                    <a:pt x="396" y="628"/>
                  </a:lnTo>
                  <a:lnTo>
                    <a:pt x="396" y="376"/>
                  </a:lnTo>
                  <a:lnTo>
                    <a:pt x="880" y="376"/>
                  </a:lnTo>
                  <a:close/>
                  <a:moveTo>
                    <a:pt x="1923" y="1290"/>
                  </a:moveTo>
                  <a:lnTo>
                    <a:pt x="2026" y="1553"/>
                  </a:lnTo>
                  <a:lnTo>
                    <a:pt x="2448" y="1553"/>
                  </a:lnTo>
                  <a:lnTo>
                    <a:pt x="1873" y="41"/>
                  </a:lnTo>
                  <a:lnTo>
                    <a:pt x="1437" y="41"/>
                  </a:lnTo>
                  <a:lnTo>
                    <a:pt x="851" y="1553"/>
                  </a:lnTo>
                  <a:lnTo>
                    <a:pt x="1272" y="1553"/>
                  </a:lnTo>
                  <a:lnTo>
                    <a:pt x="1378" y="1290"/>
                  </a:lnTo>
                  <a:lnTo>
                    <a:pt x="1923" y="1290"/>
                  </a:lnTo>
                  <a:close/>
                  <a:moveTo>
                    <a:pt x="1818" y="990"/>
                  </a:moveTo>
                  <a:lnTo>
                    <a:pt x="1488" y="990"/>
                  </a:lnTo>
                  <a:lnTo>
                    <a:pt x="1653" y="509"/>
                  </a:lnTo>
                  <a:lnTo>
                    <a:pt x="1655" y="509"/>
                  </a:lnTo>
                  <a:lnTo>
                    <a:pt x="1818" y="990"/>
                  </a:lnTo>
                  <a:close/>
                  <a:moveTo>
                    <a:pt x="2572" y="1553"/>
                  </a:moveTo>
                  <a:lnTo>
                    <a:pt x="2968" y="1553"/>
                  </a:lnTo>
                  <a:lnTo>
                    <a:pt x="2968" y="1052"/>
                  </a:lnTo>
                  <a:lnTo>
                    <a:pt x="3193" y="1052"/>
                  </a:lnTo>
                  <a:cubicBezTo>
                    <a:pt x="3310" y="1054"/>
                    <a:pt x="3409" y="1034"/>
                    <a:pt x="3489" y="999"/>
                  </a:cubicBezTo>
                  <a:cubicBezTo>
                    <a:pt x="3569" y="963"/>
                    <a:pt x="3631" y="908"/>
                    <a:pt x="3672" y="832"/>
                  </a:cubicBezTo>
                  <a:cubicBezTo>
                    <a:pt x="3713" y="754"/>
                    <a:pt x="3734" y="658"/>
                    <a:pt x="3734" y="538"/>
                  </a:cubicBezTo>
                  <a:cubicBezTo>
                    <a:pt x="3734" y="451"/>
                    <a:pt x="3722" y="376"/>
                    <a:pt x="3695" y="314"/>
                  </a:cubicBezTo>
                  <a:cubicBezTo>
                    <a:pt x="3670" y="254"/>
                    <a:pt x="3628" y="199"/>
                    <a:pt x="3580" y="163"/>
                  </a:cubicBezTo>
                  <a:cubicBezTo>
                    <a:pt x="3532" y="119"/>
                    <a:pt x="3473" y="92"/>
                    <a:pt x="3404" y="71"/>
                  </a:cubicBezTo>
                  <a:cubicBezTo>
                    <a:pt x="3338" y="50"/>
                    <a:pt x="3262" y="41"/>
                    <a:pt x="3179" y="41"/>
                  </a:cubicBezTo>
                  <a:lnTo>
                    <a:pt x="2572" y="41"/>
                  </a:lnTo>
                  <a:lnTo>
                    <a:pt x="2572" y="1553"/>
                  </a:lnTo>
                  <a:close/>
                  <a:moveTo>
                    <a:pt x="2968" y="357"/>
                  </a:moveTo>
                  <a:lnTo>
                    <a:pt x="3035" y="357"/>
                  </a:lnTo>
                  <a:cubicBezTo>
                    <a:pt x="3074" y="357"/>
                    <a:pt x="3111" y="360"/>
                    <a:pt x="3145" y="362"/>
                  </a:cubicBezTo>
                  <a:cubicBezTo>
                    <a:pt x="3179" y="364"/>
                    <a:pt x="3212" y="373"/>
                    <a:pt x="3237" y="382"/>
                  </a:cubicBezTo>
                  <a:cubicBezTo>
                    <a:pt x="3262" y="394"/>
                    <a:pt x="3283" y="412"/>
                    <a:pt x="3299" y="442"/>
                  </a:cubicBezTo>
                  <a:cubicBezTo>
                    <a:pt x="3315" y="467"/>
                    <a:pt x="3319" y="504"/>
                    <a:pt x="3324" y="552"/>
                  </a:cubicBezTo>
                  <a:cubicBezTo>
                    <a:pt x="3319" y="598"/>
                    <a:pt x="3315" y="632"/>
                    <a:pt x="3296" y="658"/>
                  </a:cubicBezTo>
                  <a:cubicBezTo>
                    <a:pt x="3280" y="683"/>
                    <a:pt x="3260" y="701"/>
                    <a:pt x="3232" y="713"/>
                  </a:cubicBezTo>
                  <a:cubicBezTo>
                    <a:pt x="3205" y="724"/>
                    <a:pt x="3175" y="729"/>
                    <a:pt x="3140" y="733"/>
                  </a:cubicBezTo>
                  <a:cubicBezTo>
                    <a:pt x="3106" y="736"/>
                    <a:pt x="3072" y="736"/>
                    <a:pt x="3035" y="736"/>
                  </a:cubicBezTo>
                  <a:lnTo>
                    <a:pt x="2968" y="736"/>
                  </a:lnTo>
                  <a:lnTo>
                    <a:pt x="2968" y="357"/>
                  </a:lnTo>
                  <a:close/>
                  <a:moveTo>
                    <a:pt x="4880" y="126"/>
                  </a:moveTo>
                  <a:cubicBezTo>
                    <a:pt x="4837" y="101"/>
                    <a:pt x="4786" y="78"/>
                    <a:pt x="4733" y="60"/>
                  </a:cubicBezTo>
                  <a:cubicBezTo>
                    <a:pt x="4678" y="41"/>
                    <a:pt x="4623" y="25"/>
                    <a:pt x="4566" y="16"/>
                  </a:cubicBezTo>
                  <a:cubicBezTo>
                    <a:pt x="4508" y="7"/>
                    <a:pt x="4456" y="0"/>
                    <a:pt x="4403" y="0"/>
                  </a:cubicBezTo>
                  <a:cubicBezTo>
                    <a:pt x="4325" y="0"/>
                    <a:pt x="4257" y="14"/>
                    <a:pt x="4193" y="39"/>
                  </a:cubicBezTo>
                  <a:cubicBezTo>
                    <a:pt x="4128" y="62"/>
                    <a:pt x="4071" y="94"/>
                    <a:pt x="4025" y="140"/>
                  </a:cubicBezTo>
                  <a:cubicBezTo>
                    <a:pt x="3979" y="185"/>
                    <a:pt x="3943" y="238"/>
                    <a:pt x="3917" y="300"/>
                  </a:cubicBezTo>
                  <a:cubicBezTo>
                    <a:pt x="3890" y="362"/>
                    <a:pt x="3878" y="433"/>
                    <a:pt x="3878" y="509"/>
                  </a:cubicBezTo>
                  <a:cubicBezTo>
                    <a:pt x="3878" y="566"/>
                    <a:pt x="3883" y="619"/>
                    <a:pt x="3897" y="658"/>
                  </a:cubicBezTo>
                  <a:cubicBezTo>
                    <a:pt x="3908" y="701"/>
                    <a:pt x="3927" y="736"/>
                    <a:pt x="3952" y="766"/>
                  </a:cubicBezTo>
                  <a:cubicBezTo>
                    <a:pt x="3975" y="795"/>
                    <a:pt x="4002" y="821"/>
                    <a:pt x="4037" y="841"/>
                  </a:cubicBezTo>
                  <a:cubicBezTo>
                    <a:pt x="4069" y="860"/>
                    <a:pt x="4108" y="878"/>
                    <a:pt x="4151" y="894"/>
                  </a:cubicBezTo>
                  <a:cubicBezTo>
                    <a:pt x="4195" y="908"/>
                    <a:pt x="4241" y="921"/>
                    <a:pt x="4291" y="937"/>
                  </a:cubicBezTo>
                  <a:cubicBezTo>
                    <a:pt x="4307" y="940"/>
                    <a:pt x="4325" y="947"/>
                    <a:pt x="4346" y="953"/>
                  </a:cubicBezTo>
                  <a:cubicBezTo>
                    <a:pt x="4369" y="960"/>
                    <a:pt x="4392" y="965"/>
                    <a:pt x="4412" y="974"/>
                  </a:cubicBezTo>
                  <a:cubicBezTo>
                    <a:pt x="4435" y="983"/>
                    <a:pt x="4454" y="995"/>
                    <a:pt x="4472" y="1008"/>
                  </a:cubicBezTo>
                  <a:cubicBezTo>
                    <a:pt x="4488" y="1020"/>
                    <a:pt x="4502" y="1034"/>
                    <a:pt x="4513" y="1052"/>
                  </a:cubicBezTo>
                  <a:cubicBezTo>
                    <a:pt x="4525" y="1066"/>
                    <a:pt x="4531" y="1086"/>
                    <a:pt x="4531" y="1109"/>
                  </a:cubicBezTo>
                  <a:cubicBezTo>
                    <a:pt x="4531" y="1134"/>
                    <a:pt x="4525" y="1157"/>
                    <a:pt x="4513" y="1178"/>
                  </a:cubicBezTo>
                  <a:cubicBezTo>
                    <a:pt x="4502" y="1196"/>
                    <a:pt x="4488" y="1212"/>
                    <a:pt x="4472" y="1224"/>
                  </a:cubicBezTo>
                  <a:cubicBezTo>
                    <a:pt x="4451" y="1237"/>
                    <a:pt x="4431" y="1244"/>
                    <a:pt x="4408" y="1251"/>
                  </a:cubicBezTo>
                  <a:cubicBezTo>
                    <a:pt x="4385" y="1258"/>
                    <a:pt x="4362" y="1260"/>
                    <a:pt x="4339" y="1260"/>
                  </a:cubicBezTo>
                  <a:cubicBezTo>
                    <a:pt x="4293" y="1260"/>
                    <a:pt x="4250" y="1253"/>
                    <a:pt x="4211" y="1240"/>
                  </a:cubicBezTo>
                  <a:cubicBezTo>
                    <a:pt x="4167" y="1224"/>
                    <a:pt x="4128" y="1208"/>
                    <a:pt x="4092" y="1185"/>
                  </a:cubicBezTo>
                  <a:cubicBezTo>
                    <a:pt x="4055" y="1159"/>
                    <a:pt x="4021" y="1132"/>
                    <a:pt x="3984" y="1105"/>
                  </a:cubicBezTo>
                  <a:lnTo>
                    <a:pt x="3814" y="1420"/>
                  </a:lnTo>
                  <a:cubicBezTo>
                    <a:pt x="3869" y="1457"/>
                    <a:pt x="3922" y="1489"/>
                    <a:pt x="3982" y="1514"/>
                  </a:cubicBezTo>
                  <a:cubicBezTo>
                    <a:pt x="4039" y="1540"/>
                    <a:pt x="4099" y="1560"/>
                    <a:pt x="4163" y="1572"/>
                  </a:cubicBezTo>
                  <a:cubicBezTo>
                    <a:pt x="4225" y="1588"/>
                    <a:pt x="4291" y="1592"/>
                    <a:pt x="4353" y="1592"/>
                  </a:cubicBezTo>
                  <a:cubicBezTo>
                    <a:pt x="4403" y="1592"/>
                    <a:pt x="4456" y="1590"/>
                    <a:pt x="4506" y="1579"/>
                  </a:cubicBezTo>
                  <a:cubicBezTo>
                    <a:pt x="4559" y="1570"/>
                    <a:pt x="4609" y="1553"/>
                    <a:pt x="4655" y="1531"/>
                  </a:cubicBezTo>
                  <a:cubicBezTo>
                    <a:pt x="4704" y="1512"/>
                    <a:pt x="4747" y="1485"/>
                    <a:pt x="4786" y="1450"/>
                  </a:cubicBezTo>
                  <a:cubicBezTo>
                    <a:pt x="4827" y="1416"/>
                    <a:pt x="4860" y="1379"/>
                    <a:pt x="4880" y="1333"/>
                  </a:cubicBezTo>
                  <a:cubicBezTo>
                    <a:pt x="4905" y="1290"/>
                    <a:pt x="4922" y="1244"/>
                    <a:pt x="4931" y="1194"/>
                  </a:cubicBezTo>
                  <a:cubicBezTo>
                    <a:pt x="4942" y="1146"/>
                    <a:pt x="4944" y="1095"/>
                    <a:pt x="4944" y="1045"/>
                  </a:cubicBezTo>
                  <a:cubicBezTo>
                    <a:pt x="4944" y="983"/>
                    <a:pt x="4935" y="931"/>
                    <a:pt x="4917" y="885"/>
                  </a:cubicBezTo>
                  <a:cubicBezTo>
                    <a:pt x="4896" y="841"/>
                    <a:pt x="4871" y="802"/>
                    <a:pt x="4837" y="770"/>
                  </a:cubicBezTo>
                  <a:cubicBezTo>
                    <a:pt x="4802" y="738"/>
                    <a:pt x="4763" y="710"/>
                    <a:pt x="4717" y="688"/>
                  </a:cubicBezTo>
                  <a:cubicBezTo>
                    <a:pt x="4671" y="665"/>
                    <a:pt x="4623" y="646"/>
                    <a:pt x="4568" y="632"/>
                  </a:cubicBezTo>
                  <a:lnTo>
                    <a:pt x="4467" y="600"/>
                  </a:lnTo>
                  <a:cubicBezTo>
                    <a:pt x="4449" y="598"/>
                    <a:pt x="4428" y="589"/>
                    <a:pt x="4410" y="582"/>
                  </a:cubicBezTo>
                  <a:cubicBezTo>
                    <a:pt x="4389" y="573"/>
                    <a:pt x="4369" y="564"/>
                    <a:pt x="4353" y="555"/>
                  </a:cubicBezTo>
                  <a:cubicBezTo>
                    <a:pt x="4334" y="543"/>
                    <a:pt x="4321" y="529"/>
                    <a:pt x="4309" y="513"/>
                  </a:cubicBezTo>
                  <a:cubicBezTo>
                    <a:pt x="4296" y="497"/>
                    <a:pt x="4291" y="479"/>
                    <a:pt x="4291" y="456"/>
                  </a:cubicBezTo>
                  <a:cubicBezTo>
                    <a:pt x="4291" y="438"/>
                    <a:pt x="4296" y="417"/>
                    <a:pt x="4307" y="399"/>
                  </a:cubicBezTo>
                  <a:cubicBezTo>
                    <a:pt x="4318" y="385"/>
                    <a:pt x="4330" y="373"/>
                    <a:pt x="4346" y="362"/>
                  </a:cubicBezTo>
                  <a:cubicBezTo>
                    <a:pt x="4367" y="353"/>
                    <a:pt x="4383" y="343"/>
                    <a:pt x="4403" y="339"/>
                  </a:cubicBezTo>
                  <a:cubicBezTo>
                    <a:pt x="4424" y="332"/>
                    <a:pt x="4442" y="330"/>
                    <a:pt x="4460" y="330"/>
                  </a:cubicBezTo>
                  <a:cubicBezTo>
                    <a:pt x="4508" y="330"/>
                    <a:pt x="4557" y="341"/>
                    <a:pt x="4600" y="357"/>
                  </a:cubicBezTo>
                  <a:cubicBezTo>
                    <a:pt x="4646" y="376"/>
                    <a:pt x="4685" y="399"/>
                    <a:pt x="4724" y="431"/>
                  </a:cubicBezTo>
                  <a:lnTo>
                    <a:pt x="4880" y="12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pic>
        <p:nvPicPr>
          <p:cNvPr id="17" name="Grafik 1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9788" y="5410199"/>
            <a:ext cx="2179589" cy="8985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144779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5" pos="3114">
          <p15:clr>
            <a:srgbClr val="A4A3A4"/>
          </p15:clr>
        </p15:guide>
        <p15:guide id="26" orient="horz" pos="2704">
          <p15:clr>
            <a:srgbClr val="A4A3A4"/>
          </p15:clr>
        </p15:guide>
        <p15:guide id="27" orient="horz" pos="3407">
          <p15:clr>
            <a:srgbClr val="A4A3A4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Lehrstuhl">
            <a:extLst>
              <a:ext uri="{FF2B5EF4-FFF2-40B4-BE49-F238E27FC236}">
                <a16:creationId xmlns:a16="http://schemas.microsoft.com/office/drawing/2014/main" id="{865F1AB1-09E4-48E8-BD15-25AFDFED92B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39788" y="4292600"/>
            <a:ext cx="2459969" cy="9787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5000"/>
              </a:lnSpc>
              <a:spcBef>
                <a:spcPct val="75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Prof. Dr.-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Ing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.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Jörg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Franke</a:t>
            </a:r>
          </a:p>
          <a:p>
            <a:pPr marL="0" marR="0" lvl="0" indent="0" algn="l" defTabSz="914400" rtl="0" eaLnBrk="0" fontAlgn="base" latinLnBrk="0" hangingPunct="0">
              <a:lnSpc>
                <a:spcPct val="105000"/>
              </a:lnSpc>
              <a:spcBef>
                <a:spcPct val="75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Institute for Factory Automation</a:t>
            </a:r>
            <a:b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</a:b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and Production Systems</a:t>
            </a:r>
          </a:p>
          <a:p>
            <a:pPr marL="0" marR="0" lvl="0" indent="0" algn="l" defTabSz="914400" rtl="0" eaLnBrk="0" fontAlgn="base" latinLnBrk="0" hangingPunct="0">
              <a:lnSpc>
                <a:spcPct val="105000"/>
              </a:lnSpc>
              <a:spcBef>
                <a:spcPct val="75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+mn-cs"/>
              </a:rPr>
              <a:t>Friedrich-Alexander University Erlangen-Nuremberg</a:t>
            </a:r>
          </a:p>
        </p:txBody>
      </p:sp>
      <p:sp>
        <p:nvSpPr>
          <p:cNvPr id="7" name="Thank you">
            <a:extLst>
              <a:ext uri="{FF2B5EF4-FFF2-40B4-BE49-F238E27FC236}">
                <a16:creationId xmlns:a16="http://schemas.microsoft.com/office/drawing/2014/main" id="{B8AEBB16-568B-416C-A52D-B9D0B7AD8666}"/>
              </a:ext>
            </a:extLst>
          </p:cNvPr>
          <p:cNvSpPr txBox="1"/>
          <p:nvPr/>
        </p:nvSpPr>
        <p:spPr>
          <a:xfrm>
            <a:off x="6791155" y="4811018"/>
            <a:ext cx="4561057" cy="92333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r"/>
            <a:r>
              <a:rPr lang="en-US" sz="6000" b="1" cap="all" baseline="0" noProof="0"/>
              <a:t>Thank you</a:t>
            </a:r>
          </a:p>
        </p:txBody>
      </p:sp>
      <p:sp>
        <p:nvSpPr>
          <p:cNvPr id="9" name="Title Picture">
            <a:extLst>
              <a:ext uri="{FF2B5EF4-FFF2-40B4-BE49-F238E27FC236}">
                <a16:creationId xmlns:a16="http://schemas.microsoft.com/office/drawing/2014/main" id="{9D576FE6-05EC-4610-8B37-59904779AEF0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4076700"/>
          </a:xfrm>
          <a:custGeom>
            <a:avLst/>
            <a:gdLst>
              <a:gd name="connsiteX0" fmla="*/ 0 w 12192000"/>
              <a:gd name="connsiteY0" fmla="*/ 0 h 4076700"/>
              <a:gd name="connsiteX1" fmla="*/ 12192000 w 12192000"/>
              <a:gd name="connsiteY1" fmla="*/ 0 h 4076700"/>
              <a:gd name="connsiteX2" fmla="*/ 12192000 w 12192000"/>
              <a:gd name="connsiteY2" fmla="*/ 4076700 h 4076700"/>
              <a:gd name="connsiteX3" fmla="*/ 3071416 w 12192000"/>
              <a:gd name="connsiteY3" fmla="*/ 4076700 h 4076700"/>
              <a:gd name="connsiteX4" fmla="*/ 3071416 w 12192000"/>
              <a:gd name="connsiteY4" fmla="*/ 1844700 h 4076700"/>
              <a:gd name="connsiteX5" fmla="*/ 839416 w 12192000"/>
              <a:gd name="connsiteY5" fmla="*/ 1844700 h 4076700"/>
              <a:gd name="connsiteX6" fmla="*/ 839416 w 12192000"/>
              <a:gd name="connsiteY6" fmla="*/ 4076700 h 4076700"/>
              <a:gd name="connsiteX7" fmla="*/ 0 w 12192000"/>
              <a:gd name="connsiteY7" fmla="*/ 4076700 h 4076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4076700">
                <a:moveTo>
                  <a:pt x="0" y="0"/>
                </a:moveTo>
                <a:lnTo>
                  <a:pt x="12192000" y="0"/>
                </a:lnTo>
                <a:lnTo>
                  <a:pt x="12192000" y="4076700"/>
                </a:lnTo>
                <a:lnTo>
                  <a:pt x="3071416" y="4076700"/>
                </a:lnTo>
                <a:lnTo>
                  <a:pt x="3071416" y="1844700"/>
                </a:lnTo>
                <a:lnTo>
                  <a:pt x="839416" y="1844700"/>
                </a:lnTo>
                <a:lnTo>
                  <a:pt x="839416" y="4076700"/>
                </a:lnTo>
                <a:lnTo>
                  <a:pt x="0" y="4076700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r>
              <a:rPr lang="de-DE" noProof="0"/>
              <a:t>Bild durch Klicken auf Symbol hinzufügen</a:t>
            </a:r>
            <a:endParaRPr lang="en-US" noProof="0"/>
          </a:p>
        </p:txBody>
      </p:sp>
      <p:grpSp>
        <p:nvGrpSpPr>
          <p:cNvPr id="17" name="Gruppieren 16">
            <a:extLst>
              <a:ext uri="{FF2B5EF4-FFF2-40B4-BE49-F238E27FC236}">
                <a16:creationId xmlns:a16="http://schemas.microsoft.com/office/drawing/2014/main" id="{A076367C-AB7D-479E-A208-D24657615421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839788" y="1841252"/>
            <a:ext cx="2235447" cy="2235448"/>
            <a:chOff x="5757863" y="1597024"/>
            <a:chExt cx="1971675" cy="1971675"/>
          </a:xfrm>
        </p:grpSpPr>
        <p:sp>
          <p:nvSpPr>
            <p:cNvPr id="19" name="AutoShape 61">
              <a:extLst>
                <a:ext uri="{FF2B5EF4-FFF2-40B4-BE49-F238E27FC236}">
                  <a16:creationId xmlns:a16="http://schemas.microsoft.com/office/drawing/2014/main" id="{021B169B-3729-4188-95EC-DF427B093B39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5757863" y="1597024"/>
              <a:ext cx="1971675" cy="19716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" name="Rectangle 63">
              <a:extLst>
                <a:ext uri="{FF2B5EF4-FFF2-40B4-BE49-F238E27FC236}">
                  <a16:creationId xmlns:a16="http://schemas.microsoft.com/office/drawing/2014/main" id="{DD3B038C-AB66-4A83-B4D7-6C3B1E091CD3}"/>
                </a:ext>
              </a:extLst>
            </p:cNvPr>
            <p:cNvSpPr>
              <a:spLocks noChangeAspect="1" noChangeArrowheads="1"/>
            </p:cNvSpPr>
            <p:nvPr/>
          </p:nvSpPr>
          <p:spPr bwMode="auto">
            <a:xfrm>
              <a:off x="5757863" y="1597024"/>
              <a:ext cx="1971675" cy="1971675"/>
            </a:xfrm>
            <a:prstGeom prst="rect">
              <a:avLst/>
            </a:prstGeom>
            <a:solidFill>
              <a:srgbClr val="97C139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" name="Freeform 64">
              <a:extLst>
                <a:ext uri="{FF2B5EF4-FFF2-40B4-BE49-F238E27FC236}">
                  <a16:creationId xmlns:a16="http://schemas.microsoft.com/office/drawing/2014/main" id="{A3EC7AD9-EFD9-4A37-9183-4C02724C53E0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5865813" y="1795463"/>
              <a:ext cx="1785938" cy="576263"/>
            </a:xfrm>
            <a:custGeom>
              <a:avLst/>
              <a:gdLst>
                <a:gd name="T0" fmla="*/ 880 w 4944"/>
                <a:gd name="T1" fmla="*/ 41 h 1592"/>
                <a:gd name="T2" fmla="*/ 0 w 4944"/>
                <a:gd name="T3" fmla="*/ 1553 h 1592"/>
                <a:gd name="T4" fmla="*/ 396 w 4944"/>
                <a:gd name="T5" fmla="*/ 960 h 1592"/>
                <a:gd name="T6" fmla="*/ 832 w 4944"/>
                <a:gd name="T7" fmla="*/ 628 h 1592"/>
                <a:gd name="T8" fmla="*/ 396 w 4944"/>
                <a:gd name="T9" fmla="*/ 376 h 1592"/>
                <a:gd name="T10" fmla="*/ 1923 w 4944"/>
                <a:gd name="T11" fmla="*/ 1290 h 1592"/>
                <a:gd name="T12" fmla="*/ 2448 w 4944"/>
                <a:gd name="T13" fmla="*/ 1553 h 1592"/>
                <a:gd name="T14" fmla="*/ 1437 w 4944"/>
                <a:gd name="T15" fmla="*/ 41 h 1592"/>
                <a:gd name="T16" fmla="*/ 1272 w 4944"/>
                <a:gd name="T17" fmla="*/ 1553 h 1592"/>
                <a:gd name="T18" fmla="*/ 1923 w 4944"/>
                <a:gd name="T19" fmla="*/ 1290 h 1592"/>
                <a:gd name="T20" fmla="*/ 1488 w 4944"/>
                <a:gd name="T21" fmla="*/ 990 h 1592"/>
                <a:gd name="T22" fmla="*/ 1655 w 4944"/>
                <a:gd name="T23" fmla="*/ 509 h 1592"/>
                <a:gd name="T24" fmla="*/ 2572 w 4944"/>
                <a:gd name="T25" fmla="*/ 1553 h 1592"/>
                <a:gd name="T26" fmla="*/ 2968 w 4944"/>
                <a:gd name="T27" fmla="*/ 1052 h 1592"/>
                <a:gd name="T28" fmla="*/ 3489 w 4944"/>
                <a:gd name="T29" fmla="*/ 999 h 1592"/>
                <a:gd name="T30" fmla="*/ 3734 w 4944"/>
                <a:gd name="T31" fmla="*/ 538 h 1592"/>
                <a:gd name="T32" fmla="*/ 3580 w 4944"/>
                <a:gd name="T33" fmla="*/ 163 h 1592"/>
                <a:gd name="T34" fmla="*/ 3179 w 4944"/>
                <a:gd name="T35" fmla="*/ 41 h 1592"/>
                <a:gd name="T36" fmla="*/ 2572 w 4944"/>
                <a:gd name="T37" fmla="*/ 1553 h 1592"/>
                <a:gd name="T38" fmla="*/ 3035 w 4944"/>
                <a:gd name="T39" fmla="*/ 357 h 1592"/>
                <a:gd name="T40" fmla="*/ 3237 w 4944"/>
                <a:gd name="T41" fmla="*/ 382 h 1592"/>
                <a:gd name="T42" fmla="*/ 3324 w 4944"/>
                <a:gd name="T43" fmla="*/ 552 h 1592"/>
                <a:gd name="T44" fmla="*/ 3232 w 4944"/>
                <a:gd name="T45" fmla="*/ 713 h 1592"/>
                <a:gd name="T46" fmla="*/ 3035 w 4944"/>
                <a:gd name="T47" fmla="*/ 736 h 1592"/>
                <a:gd name="T48" fmla="*/ 2968 w 4944"/>
                <a:gd name="T49" fmla="*/ 357 h 1592"/>
                <a:gd name="T50" fmla="*/ 4733 w 4944"/>
                <a:gd name="T51" fmla="*/ 60 h 1592"/>
                <a:gd name="T52" fmla="*/ 4403 w 4944"/>
                <a:gd name="T53" fmla="*/ 0 h 1592"/>
                <a:gd name="T54" fmla="*/ 4025 w 4944"/>
                <a:gd name="T55" fmla="*/ 140 h 1592"/>
                <a:gd name="T56" fmla="*/ 3878 w 4944"/>
                <a:gd name="T57" fmla="*/ 509 h 1592"/>
                <a:gd name="T58" fmla="*/ 3952 w 4944"/>
                <a:gd name="T59" fmla="*/ 766 h 1592"/>
                <a:gd name="T60" fmla="*/ 4151 w 4944"/>
                <a:gd name="T61" fmla="*/ 894 h 1592"/>
                <a:gd name="T62" fmla="*/ 4346 w 4944"/>
                <a:gd name="T63" fmla="*/ 953 h 1592"/>
                <a:gd name="T64" fmla="*/ 4472 w 4944"/>
                <a:gd name="T65" fmla="*/ 1008 h 1592"/>
                <a:gd name="T66" fmla="*/ 4531 w 4944"/>
                <a:gd name="T67" fmla="*/ 1109 h 1592"/>
                <a:gd name="T68" fmla="*/ 4472 w 4944"/>
                <a:gd name="T69" fmla="*/ 1224 h 1592"/>
                <a:gd name="T70" fmla="*/ 4339 w 4944"/>
                <a:gd name="T71" fmla="*/ 1260 h 1592"/>
                <a:gd name="T72" fmla="*/ 4092 w 4944"/>
                <a:gd name="T73" fmla="*/ 1185 h 1592"/>
                <a:gd name="T74" fmla="*/ 3814 w 4944"/>
                <a:gd name="T75" fmla="*/ 1420 h 1592"/>
                <a:gd name="T76" fmla="*/ 4163 w 4944"/>
                <a:gd name="T77" fmla="*/ 1572 h 1592"/>
                <a:gd name="T78" fmla="*/ 4506 w 4944"/>
                <a:gd name="T79" fmla="*/ 1579 h 1592"/>
                <a:gd name="T80" fmla="*/ 4786 w 4944"/>
                <a:gd name="T81" fmla="*/ 1450 h 1592"/>
                <a:gd name="T82" fmla="*/ 4931 w 4944"/>
                <a:gd name="T83" fmla="*/ 1194 h 1592"/>
                <a:gd name="T84" fmla="*/ 4917 w 4944"/>
                <a:gd name="T85" fmla="*/ 885 h 1592"/>
                <a:gd name="T86" fmla="*/ 4717 w 4944"/>
                <a:gd name="T87" fmla="*/ 688 h 1592"/>
                <a:gd name="T88" fmla="*/ 4467 w 4944"/>
                <a:gd name="T89" fmla="*/ 600 h 1592"/>
                <a:gd name="T90" fmla="*/ 4353 w 4944"/>
                <a:gd name="T91" fmla="*/ 555 h 1592"/>
                <a:gd name="T92" fmla="*/ 4291 w 4944"/>
                <a:gd name="T93" fmla="*/ 456 h 1592"/>
                <a:gd name="T94" fmla="*/ 4346 w 4944"/>
                <a:gd name="T95" fmla="*/ 362 h 1592"/>
                <a:gd name="T96" fmla="*/ 4460 w 4944"/>
                <a:gd name="T97" fmla="*/ 330 h 1592"/>
                <a:gd name="T98" fmla="*/ 4724 w 4944"/>
                <a:gd name="T99" fmla="*/ 431 h 15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4944" h="1592">
                  <a:moveTo>
                    <a:pt x="880" y="376"/>
                  </a:moveTo>
                  <a:lnTo>
                    <a:pt x="880" y="41"/>
                  </a:lnTo>
                  <a:lnTo>
                    <a:pt x="0" y="41"/>
                  </a:lnTo>
                  <a:lnTo>
                    <a:pt x="0" y="1553"/>
                  </a:lnTo>
                  <a:lnTo>
                    <a:pt x="396" y="1553"/>
                  </a:lnTo>
                  <a:lnTo>
                    <a:pt x="396" y="960"/>
                  </a:lnTo>
                  <a:lnTo>
                    <a:pt x="832" y="960"/>
                  </a:lnTo>
                  <a:lnTo>
                    <a:pt x="832" y="628"/>
                  </a:lnTo>
                  <a:lnTo>
                    <a:pt x="396" y="628"/>
                  </a:lnTo>
                  <a:lnTo>
                    <a:pt x="396" y="376"/>
                  </a:lnTo>
                  <a:lnTo>
                    <a:pt x="880" y="376"/>
                  </a:lnTo>
                  <a:close/>
                  <a:moveTo>
                    <a:pt x="1923" y="1290"/>
                  </a:moveTo>
                  <a:lnTo>
                    <a:pt x="2026" y="1553"/>
                  </a:lnTo>
                  <a:lnTo>
                    <a:pt x="2448" y="1553"/>
                  </a:lnTo>
                  <a:lnTo>
                    <a:pt x="1873" y="41"/>
                  </a:lnTo>
                  <a:lnTo>
                    <a:pt x="1437" y="41"/>
                  </a:lnTo>
                  <a:lnTo>
                    <a:pt x="851" y="1553"/>
                  </a:lnTo>
                  <a:lnTo>
                    <a:pt x="1272" y="1553"/>
                  </a:lnTo>
                  <a:lnTo>
                    <a:pt x="1378" y="1290"/>
                  </a:lnTo>
                  <a:lnTo>
                    <a:pt x="1923" y="1290"/>
                  </a:lnTo>
                  <a:close/>
                  <a:moveTo>
                    <a:pt x="1818" y="990"/>
                  </a:moveTo>
                  <a:lnTo>
                    <a:pt x="1488" y="990"/>
                  </a:lnTo>
                  <a:lnTo>
                    <a:pt x="1653" y="509"/>
                  </a:lnTo>
                  <a:lnTo>
                    <a:pt x="1655" y="509"/>
                  </a:lnTo>
                  <a:lnTo>
                    <a:pt x="1818" y="990"/>
                  </a:lnTo>
                  <a:close/>
                  <a:moveTo>
                    <a:pt x="2572" y="1553"/>
                  </a:moveTo>
                  <a:lnTo>
                    <a:pt x="2968" y="1553"/>
                  </a:lnTo>
                  <a:lnTo>
                    <a:pt x="2968" y="1052"/>
                  </a:lnTo>
                  <a:lnTo>
                    <a:pt x="3193" y="1052"/>
                  </a:lnTo>
                  <a:cubicBezTo>
                    <a:pt x="3310" y="1054"/>
                    <a:pt x="3409" y="1034"/>
                    <a:pt x="3489" y="999"/>
                  </a:cubicBezTo>
                  <a:cubicBezTo>
                    <a:pt x="3569" y="963"/>
                    <a:pt x="3631" y="908"/>
                    <a:pt x="3672" y="832"/>
                  </a:cubicBezTo>
                  <a:cubicBezTo>
                    <a:pt x="3713" y="754"/>
                    <a:pt x="3734" y="658"/>
                    <a:pt x="3734" y="538"/>
                  </a:cubicBezTo>
                  <a:cubicBezTo>
                    <a:pt x="3734" y="451"/>
                    <a:pt x="3722" y="376"/>
                    <a:pt x="3695" y="314"/>
                  </a:cubicBezTo>
                  <a:cubicBezTo>
                    <a:pt x="3670" y="254"/>
                    <a:pt x="3628" y="199"/>
                    <a:pt x="3580" y="163"/>
                  </a:cubicBezTo>
                  <a:cubicBezTo>
                    <a:pt x="3532" y="119"/>
                    <a:pt x="3473" y="92"/>
                    <a:pt x="3404" y="71"/>
                  </a:cubicBezTo>
                  <a:cubicBezTo>
                    <a:pt x="3338" y="50"/>
                    <a:pt x="3262" y="41"/>
                    <a:pt x="3179" y="41"/>
                  </a:cubicBezTo>
                  <a:lnTo>
                    <a:pt x="2572" y="41"/>
                  </a:lnTo>
                  <a:lnTo>
                    <a:pt x="2572" y="1553"/>
                  </a:lnTo>
                  <a:close/>
                  <a:moveTo>
                    <a:pt x="2968" y="357"/>
                  </a:moveTo>
                  <a:lnTo>
                    <a:pt x="3035" y="357"/>
                  </a:lnTo>
                  <a:cubicBezTo>
                    <a:pt x="3074" y="357"/>
                    <a:pt x="3111" y="360"/>
                    <a:pt x="3145" y="362"/>
                  </a:cubicBezTo>
                  <a:cubicBezTo>
                    <a:pt x="3179" y="364"/>
                    <a:pt x="3212" y="373"/>
                    <a:pt x="3237" y="382"/>
                  </a:cubicBezTo>
                  <a:cubicBezTo>
                    <a:pt x="3262" y="394"/>
                    <a:pt x="3283" y="412"/>
                    <a:pt x="3299" y="442"/>
                  </a:cubicBezTo>
                  <a:cubicBezTo>
                    <a:pt x="3315" y="467"/>
                    <a:pt x="3319" y="504"/>
                    <a:pt x="3324" y="552"/>
                  </a:cubicBezTo>
                  <a:cubicBezTo>
                    <a:pt x="3319" y="598"/>
                    <a:pt x="3315" y="632"/>
                    <a:pt x="3296" y="658"/>
                  </a:cubicBezTo>
                  <a:cubicBezTo>
                    <a:pt x="3280" y="683"/>
                    <a:pt x="3260" y="701"/>
                    <a:pt x="3232" y="713"/>
                  </a:cubicBezTo>
                  <a:cubicBezTo>
                    <a:pt x="3205" y="724"/>
                    <a:pt x="3175" y="729"/>
                    <a:pt x="3140" y="733"/>
                  </a:cubicBezTo>
                  <a:cubicBezTo>
                    <a:pt x="3106" y="736"/>
                    <a:pt x="3072" y="736"/>
                    <a:pt x="3035" y="736"/>
                  </a:cubicBezTo>
                  <a:lnTo>
                    <a:pt x="2968" y="736"/>
                  </a:lnTo>
                  <a:lnTo>
                    <a:pt x="2968" y="357"/>
                  </a:lnTo>
                  <a:close/>
                  <a:moveTo>
                    <a:pt x="4880" y="126"/>
                  </a:moveTo>
                  <a:cubicBezTo>
                    <a:pt x="4837" y="101"/>
                    <a:pt x="4786" y="78"/>
                    <a:pt x="4733" y="60"/>
                  </a:cubicBezTo>
                  <a:cubicBezTo>
                    <a:pt x="4678" y="41"/>
                    <a:pt x="4623" y="25"/>
                    <a:pt x="4566" y="16"/>
                  </a:cubicBezTo>
                  <a:cubicBezTo>
                    <a:pt x="4508" y="7"/>
                    <a:pt x="4456" y="0"/>
                    <a:pt x="4403" y="0"/>
                  </a:cubicBezTo>
                  <a:cubicBezTo>
                    <a:pt x="4325" y="0"/>
                    <a:pt x="4257" y="14"/>
                    <a:pt x="4193" y="39"/>
                  </a:cubicBezTo>
                  <a:cubicBezTo>
                    <a:pt x="4128" y="62"/>
                    <a:pt x="4071" y="94"/>
                    <a:pt x="4025" y="140"/>
                  </a:cubicBezTo>
                  <a:cubicBezTo>
                    <a:pt x="3979" y="185"/>
                    <a:pt x="3943" y="238"/>
                    <a:pt x="3917" y="300"/>
                  </a:cubicBezTo>
                  <a:cubicBezTo>
                    <a:pt x="3890" y="362"/>
                    <a:pt x="3878" y="433"/>
                    <a:pt x="3878" y="509"/>
                  </a:cubicBezTo>
                  <a:cubicBezTo>
                    <a:pt x="3878" y="566"/>
                    <a:pt x="3883" y="619"/>
                    <a:pt x="3897" y="658"/>
                  </a:cubicBezTo>
                  <a:cubicBezTo>
                    <a:pt x="3908" y="701"/>
                    <a:pt x="3927" y="736"/>
                    <a:pt x="3952" y="766"/>
                  </a:cubicBezTo>
                  <a:cubicBezTo>
                    <a:pt x="3975" y="795"/>
                    <a:pt x="4002" y="821"/>
                    <a:pt x="4037" y="841"/>
                  </a:cubicBezTo>
                  <a:cubicBezTo>
                    <a:pt x="4069" y="860"/>
                    <a:pt x="4108" y="878"/>
                    <a:pt x="4151" y="894"/>
                  </a:cubicBezTo>
                  <a:cubicBezTo>
                    <a:pt x="4195" y="908"/>
                    <a:pt x="4241" y="921"/>
                    <a:pt x="4291" y="937"/>
                  </a:cubicBezTo>
                  <a:cubicBezTo>
                    <a:pt x="4307" y="940"/>
                    <a:pt x="4325" y="947"/>
                    <a:pt x="4346" y="953"/>
                  </a:cubicBezTo>
                  <a:cubicBezTo>
                    <a:pt x="4369" y="960"/>
                    <a:pt x="4392" y="965"/>
                    <a:pt x="4412" y="974"/>
                  </a:cubicBezTo>
                  <a:cubicBezTo>
                    <a:pt x="4435" y="983"/>
                    <a:pt x="4454" y="995"/>
                    <a:pt x="4472" y="1008"/>
                  </a:cubicBezTo>
                  <a:cubicBezTo>
                    <a:pt x="4488" y="1020"/>
                    <a:pt x="4502" y="1034"/>
                    <a:pt x="4513" y="1052"/>
                  </a:cubicBezTo>
                  <a:cubicBezTo>
                    <a:pt x="4525" y="1066"/>
                    <a:pt x="4531" y="1086"/>
                    <a:pt x="4531" y="1109"/>
                  </a:cubicBezTo>
                  <a:cubicBezTo>
                    <a:pt x="4531" y="1134"/>
                    <a:pt x="4525" y="1157"/>
                    <a:pt x="4513" y="1178"/>
                  </a:cubicBezTo>
                  <a:cubicBezTo>
                    <a:pt x="4502" y="1196"/>
                    <a:pt x="4488" y="1212"/>
                    <a:pt x="4472" y="1224"/>
                  </a:cubicBezTo>
                  <a:cubicBezTo>
                    <a:pt x="4451" y="1237"/>
                    <a:pt x="4431" y="1244"/>
                    <a:pt x="4408" y="1251"/>
                  </a:cubicBezTo>
                  <a:cubicBezTo>
                    <a:pt x="4385" y="1258"/>
                    <a:pt x="4362" y="1260"/>
                    <a:pt x="4339" y="1260"/>
                  </a:cubicBezTo>
                  <a:cubicBezTo>
                    <a:pt x="4293" y="1260"/>
                    <a:pt x="4250" y="1253"/>
                    <a:pt x="4211" y="1240"/>
                  </a:cubicBezTo>
                  <a:cubicBezTo>
                    <a:pt x="4167" y="1224"/>
                    <a:pt x="4128" y="1208"/>
                    <a:pt x="4092" y="1185"/>
                  </a:cubicBezTo>
                  <a:cubicBezTo>
                    <a:pt x="4055" y="1159"/>
                    <a:pt x="4021" y="1132"/>
                    <a:pt x="3984" y="1105"/>
                  </a:cubicBezTo>
                  <a:lnTo>
                    <a:pt x="3814" y="1420"/>
                  </a:lnTo>
                  <a:cubicBezTo>
                    <a:pt x="3869" y="1457"/>
                    <a:pt x="3922" y="1489"/>
                    <a:pt x="3982" y="1514"/>
                  </a:cubicBezTo>
                  <a:cubicBezTo>
                    <a:pt x="4039" y="1540"/>
                    <a:pt x="4099" y="1560"/>
                    <a:pt x="4163" y="1572"/>
                  </a:cubicBezTo>
                  <a:cubicBezTo>
                    <a:pt x="4225" y="1588"/>
                    <a:pt x="4291" y="1592"/>
                    <a:pt x="4353" y="1592"/>
                  </a:cubicBezTo>
                  <a:cubicBezTo>
                    <a:pt x="4403" y="1592"/>
                    <a:pt x="4456" y="1590"/>
                    <a:pt x="4506" y="1579"/>
                  </a:cubicBezTo>
                  <a:cubicBezTo>
                    <a:pt x="4559" y="1570"/>
                    <a:pt x="4609" y="1553"/>
                    <a:pt x="4655" y="1531"/>
                  </a:cubicBezTo>
                  <a:cubicBezTo>
                    <a:pt x="4704" y="1512"/>
                    <a:pt x="4747" y="1485"/>
                    <a:pt x="4786" y="1450"/>
                  </a:cubicBezTo>
                  <a:cubicBezTo>
                    <a:pt x="4827" y="1416"/>
                    <a:pt x="4860" y="1379"/>
                    <a:pt x="4880" y="1333"/>
                  </a:cubicBezTo>
                  <a:cubicBezTo>
                    <a:pt x="4905" y="1290"/>
                    <a:pt x="4922" y="1244"/>
                    <a:pt x="4931" y="1194"/>
                  </a:cubicBezTo>
                  <a:cubicBezTo>
                    <a:pt x="4942" y="1146"/>
                    <a:pt x="4944" y="1095"/>
                    <a:pt x="4944" y="1045"/>
                  </a:cubicBezTo>
                  <a:cubicBezTo>
                    <a:pt x="4944" y="983"/>
                    <a:pt x="4935" y="931"/>
                    <a:pt x="4917" y="885"/>
                  </a:cubicBezTo>
                  <a:cubicBezTo>
                    <a:pt x="4896" y="841"/>
                    <a:pt x="4871" y="802"/>
                    <a:pt x="4837" y="770"/>
                  </a:cubicBezTo>
                  <a:cubicBezTo>
                    <a:pt x="4802" y="738"/>
                    <a:pt x="4763" y="710"/>
                    <a:pt x="4717" y="688"/>
                  </a:cubicBezTo>
                  <a:cubicBezTo>
                    <a:pt x="4671" y="665"/>
                    <a:pt x="4623" y="646"/>
                    <a:pt x="4568" y="632"/>
                  </a:cubicBezTo>
                  <a:lnTo>
                    <a:pt x="4467" y="600"/>
                  </a:lnTo>
                  <a:cubicBezTo>
                    <a:pt x="4449" y="598"/>
                    <a:pt x="4428" y="589"/>
                    <a:pt x="4410" y="582"/>
                  </a:cubicBezTo>
                  <a:cubicBezTo>
                    <a:pt x="4389" y="573"/>
                    <a:pt x="4369" y="564"/>
                    <a:pt x="4353" y="555"/>
                  </a:cubicBezTo>
                  <a:cubicBezTo>
                    <a:pt x="4334" y="543"/>
                    <a:pt x="4321" y="529"/>
                    <a:pt x="4309" y="513"/>
                  </a:cubicBezTo>
                  <a:cubicBezTo>
                    <a:pt x="4296" y="497"/>
                    <a:pt x="4291" y="479"/>
                    <a:pt x="4291" y="456"/>
                  </a:cubicBezTo>
                  <a:cubicBezTo>
                    <a:pt x="4291" y="438"/>
                    <a:pt x="4296" y="417"/>
                    <a:pt x="4307" y="399"/>
                  </a:cubicBezTo>
                  <a:cubicBezTo>
                    <a:pt x="4318" y="385"/>
                    <a:pt x="4330" y="373"/>
                    <a:pt x="4346" y="362"/>
                  </a:cubicBezTo>
                  <a:cubicBezTo>
                    <a:pt x="4367" y="353"/>
                    <a:pt x="4383" y="343"/>
                    <a:pt x="4403" y="339"/>
                  </a:cubicBezTo>
                  <a:cubicBezTo>
                    <a:pt x="4424" y="332"/>
                    <a:pt x="4442" y="330"/>
                    <a:pt x="4460" y="330"/>
                  </a:cubicBezTo>
                  <a:cubicBezTo>
                    <a:pt x="4508" y="330"/>
                    <a:pt x="4557" y="341"/>
                    <a:pt x="4600" y="357"/>
                  </a:cubicBezTo>
                  <a:cubicBezTo>
                    <a:pt x="4646" y="376"/>
                    <a:pt x="4685" y="399"/>
                    <a:pt x="4724" y="431"/>
                  </a:cubicBezTo>
                  <a:lnTo>
                    <a:pt x="4880" y="12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23" name="Datumsplatzhalter 2"/>
          <p:cNvSpPr>
            <a:spLocks noGrp="1"/>
          </p:cNvSpPr>
          <p:nvPr>
            <p:ph type="dt" sz="half" idx="10"/>
          </p:nvPr>
        </p:nvSpPr>
        <p:spPr>
          <a:xfrm>
            <a:off x="9742809" y="6561350"/>
            <a:ext cx="1609404" cy="128280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sz="800"/>
            </a:lvl1pPr>
          </a:lstStyle>
          <a:p>
            <a:pPr>
              <a:defRPr/>
            </a:pPr>
            <a:fld id="{C4769811-758A-495E-BA2C-E3C59420FC0E}" type="datetime1">
              <a:rPr lang="de-DE" smtClean="0">
                <a:solidFill>
                  <a:srgbClr val="000000"/>
                </a:solidFill>
              </a:rPr>
              <a:t>12.11.2025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4" name="Foliennummernplatzhalter 4"/>
          <p:cNvSpPr>
            <a:spLocks noGrp="1"/>
          </p:cNvSpPr>
          <p:nvPr>
            <p:ph type="sldNum" sz="quarter" idx="12"/>
          </p:nvPr>
        </p:nvSpPr>
        <p:spPr>
          <a:xfrm>
            <a:off x="11352208" y="6564725"/>
            <a:ext cx="839791" cy="124905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 sz="800"/>
            </a:lvl1pPr>
          </a:lstStyle>
          <a:p>
            <a:pPr>
              <a:defRPr/>
            </a:pPr>
            <a:fld id="{FE11F066-C7D3-4B2D-BC7E-EC0D86AF6BBF}" type="slidenum">
              <a:rPr lang="de-DE" smtClean="0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2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839788" y="6564724"/>
            <a:ext cx="8903021" cy="12490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pPr>
              <a:defRPr/>
            </a:pPr>
            <a:r>
              <a:rPr lang="de-DE">
                <a:solidFill>
                  <a:srgbClr val="000000"/>
                </a:solidFill>
              </a:rPr>
              <a:t>Bearbeiter:In   |   Präsentationsanlass, Kunde, Kooperationspartner, Vorlesung</a:t>
            </a:r>
            <a:endParaRPr lang="de-DE" dirty="0">
              <a:solidFill>
                <a:srgbClr val="000000"/>
              </a:solidFill>
            </a:endParaRPr>
          </a:p>
        </p:txBody>
      </p:sp>
      <p:pic>
        <p:nvPicPr>
          <p:cNvPr id="26" name="Grafik 2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9788" y="5410199"/>
            <a:ext cx="2179589" cy="8985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9785525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wmf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4" name="Gruppieren 23">
            <a:extLst>
              <a:ext uri="{FF2B5EF4-FFF2-40B4-BE49-F238E27FC236}">
                <a16:creationId xmlns:a16="http://schemas.microsoft.com/office/drawing/2014/main" id="{908977AA-1B13-454F-A7A7-5E54284DA029}"/>
              </a:ext>
            </a:extLst>
          </p:cNvPr>
          <p:cNvGrpSpPr>
            <a:grpSpLocks noChangeAspect="1"/>
          </p:cNvGrpSpPr>
          <p:nvPr/>
        </p:nvGrpSpPr>
        <p:grpSpPr>
          <a:xfrm>
            <a:off x="11352212" y="0"/>
            <a:ext cx="839788" cy="838800"/>
            <a:chOff x="11352212" y="0"/>
            <a:chExt cx="839788" cy="838800"/>
          </a:xfrm>
        </p:grpSpPr>
        <p:sp>
          <p:nvSpPr>
            <p:cNvPr id="21" name="Rechteck 20">
              <a:extLst>
                <a:ext uri="{FF2B5EF4-FFF2-40B4-BE49-F238E27FC236}">
                  <a16:creationId xmlns:a16="http://schemas.microsoft.com/office/drawing/2014/main" id="{DA29F8B8-7248-401D-BA2D-BC06A0D2199C}"/>
                </a:ext>
              </a:extLst>
            </p:cNvPr>
            <p:cNvSpPr/>
            <p:nvPr/>
          </p:nvSpPr>
          <p:spPr>
            <a:xfrm>
              <a:off x="11352212" y="0"/>
              <a:ext cx="839788" cy="838800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8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pic>
          <p:nvPicPr>
            <p:cNvPr id="12" name="FAPS Logo">
              <a:extLst>
                <a:ext uri="{FF2B5EF4-FFF2-40B4-BE49-F238E27FC236}">
                  <a16:creationId xmlns:a16="http://schemas.microsoft.com/office/drawing/2014/main" id="{BC303D02-1D43-4413-AFFC-C24D13E8EF4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305" t="3920" r="3774" b="3985"/>
            <a:stretch/>
          </p:blipFill>
          <p:spPr>
            <a:xfrm>
              <a:off x="11361890" y="1094"/>
              <a:ext cx="830110" cy="836613"/>
            </a:xfrm>
            <a:prstGeom prst="rect">
              <a:avLst/>
            </a:prstGeom>
          </p:spPr>
        </p:pic>
      </p:grpSp>
      <p:sp>
        <p:nvSpPr>
          <p:cNvPr id="13" name="Title bar">
            <a:extLst>
              <a:ext uri="{FF2B5EF4-FFF2-40B4-BE49-F238E27FC236}">
                <a16:creationId xmlns:a16="http://schemas.microsoft.com/office/drawing/2014/main" id="{992D165D-EB18-4621-B40E-4B97D4C772F6}"/>
              </a:ext>
            </a:extLst>
          </p:cNvPr>
          <p:cNvSpPr>
            <a:spLocks/>
          </p:cNvSpPr>
          <p:nvPr/>
        </p:nvSpPr>
        <p:spPr bwMode="auto">
          <a:xfrm>
            <a:off x="-1" y="388836"/>
            <a:ext cx="630000" cy="165600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35640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15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4FA8F9A1-B8D7-485B-8A4C-BBEFE227364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7" y="333375"/>
            <a:ext cx="10512425" cy="50433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 dirty="0"/>
              <a:t>Mastertitelformat bearbeiten</a:t>
            </a:r>
          </a:p>
        </p:txBody>
      </p:sp>
      <p:sp>
        <p:nvSpPr>
          <p:cNvPr id="3" name="Textplatzhalter 1">
            <a:extLst>
              <a:ext uri="{FF2B5EF4-FFF2-40B4-BE49-F238E27FC236}">
                <a16:creationId xmlns:a16="http://schemas.microsoft.com/office/drawing/2014/main" id="{8BBCBA7C-65E1-4216-ADAA-617BD3A66C3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7" y="1268413"/>
            <a:ext cx="10512426" cy="504031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</a:p>
        </p:txBody>
      </p:sp>
    </p:spTree>
    <p:extLst>
      <p:ext uri="{BB962C8B-B14F-4D97-AF65-F5344CB8AC3E}">
        <p14:creationId xmlns:p14="http://schemas.microsoft.com/office/powerpoint/2010/main" val="6848665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69" r:id="rId1"/>
    <p:sldLayoutId id="2147484070" r:id="rId2"/>
    <p:sldLayoutId id="2147484063" r:id="rId3"/>
    <p:sldLayoutId id="2147484065" r:id="rId4"/>
    <p:sldLayoutId id="2147484071" r:id="rId5"/>
    <p:sldLayoutId id="2147484072" r:id="rId6"/>
  </p:sldLayoutIdLst>
  <p:hf hdr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1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800"/>
        </a:spcBef>
        <a:buFontTx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100000"/>
        </a:lnSpc>
        <a:spcBef>
          <a:spcPts val="800"/>
        </a:spcBef>
        <a:buFontTx/>
        <a:buNone/>
        <a:defRPr sz="1400" b="1" kern="1200">
          <a:solidFill>
            <a:schemeClr val="tx1"/>
          </a:solidFill>
          <a:latin typeface="+mj-lt"/>
          <a:ea typeface="+mn-ea"/>
          <a:cs typeface="+mn-cs"/>
        </a:defRPr>
      </a:lvl2pPr>
      <a:lvl3pPr marL="216000" indent="-216000" algn="l" defTabSz="914400" rtl="0" eaLnBrk="1" latinLnBrk="0" hangingPunct="1">
        <a:lnSpc>
          <a:spcPct val="100000"/>
        </a:lnSpc>
        <a:spcBef>
          <a:spcPts val="800"/>
        </a:spcBef>
        <a:buClr>
          <a:schemeClr val="bg2"/>
        </a:buClr>
        <a:buFont typeface="Wingdings" panose="05000000000000000000" pitchFamily="2" charset="2"/>
        <a:buChar char="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360000" indent="-144000" algn="l" defTabSz="914400" rtl="0" eaLnBrk="1" latinLnBrk="0" hangingPunct="1">
        <a:lnSpc>
          <a:spcPct val="100000"/>
        </a:lnSpc>
        <a:spcBef>
          <a:spcPts val="400"/>
        </a:spcBef>
        <a:buClr>
          <a:schemeClr val="bg2"/>
        </a:buClr>
        <a:buFont typeface="Symbol" panose="05050102010706020507" pitchFamily="18" charset="2"/>
        <a:buChar char="-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360000" indent="-144000" algn="l" defTabSz="914400" rtl="0" eaLnBrk="1" latinLnBrk="0" hangingPunct="1">
        <a:lnSpc>
          <a:spcPct val="100000"/>
        </a:lnSpc>
        <a:spcBef>
          <a:spcPts val="400"/>
        </a:spcBef>
        <a:buClr>
          <a:schemeClr val="bg2"/>
        </a:buClr>
        <a:buFont typeface="Symbol" panose="05050102010706020507" pitchFamily="18" charset="2"/>
        <a:buChar char="-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360000" indent="-144000" algn="l" defTabSz="914400" rtl="0" eaLnBrk="1" latinLnBrk="0" hangingPunct="1">
        <a:lnSpc>
          <a:spcPct val="100000"/>
        </a:lnSpc>
        <a:spcBef>
          <a:spcPts val="400"/>
        </a:spcBef>
        <a:buClr>
          <a:schemeClr val="bg2"/>
        </a:buClr>
        <a:buFont typeface="Symbol" panose="05050102010706020507" pitchFamily="18" charset="2"/>
        <a:buChar char="-"/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360000" indent="-144000" algn="l" defTabSz="914400" rtl="0" eaLnBrk="1" latinLnBrk="0" hangingPunct="1">
        <a:lnSpc>
          <a:spcPct val="100000"/>
        </a:lnSpc>
        <a:spcBef>
          <a:spcPts val="400"/>
        </a:spcBef>
        <a:buClr>
          <a:schemeClr val="bg2"/>
        </a:buClr>
        <a:buFont typeface="Symbol" panose="05050102010706020507" pitchFamily="18" charset="2"/>
        <a:buChar char="-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360000" indent="-144000" algn="l" defTabSz="914400" rtl="0" eaLnBrk="1" latinLnBrk="0" hangingPunct="1">
        <a:lnSpc>
          <a:spcPct val="100000"/>
        </a:lnSpc>
        <a:spcBef>
          <a:spcPts val="400"/>
        </a:spcBef>
        <a:buClr>
          <a:schemeClr val="bg2"/>
        </a:buClr>
        <a:buFont typeface="Symbol" panose="05050102010706020507" pitchFamily="18" charset="2"/>
        <a:buChar char="-"/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360000" indent="-144000" algn="l" defTabSz="914400" rtl="0" eaLnBrk="1" latinLnBrk="0" hangingPunct="1">
        <a:lnSpc>
          <a:spcPct val="100000"/>
        </a:lnSpc>
        <a:spcBef>
          <a:spcPts val="400"/>
        </a:spcBef>
        <a:buClr>
          <a:schemeClr val="bg2"/>
        </a:buClr>
        <a:buFont typeface="Symbol" panose="05050102010706020507" pitchFamily="18" charset="2"/>
        <a:buChar char="-"/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indent="0" algn="l" defTabSz="914400" rtl="0" eaLnBrk="1" latinLnBrk="0" hangingPunct="1">
        <a:lnSpc>
          <a:spcPct val="100000"/>
        </a:lnSpc>
        <a:spcBef>
          <a:spcPts val="800"/>
        </a:spcBef>
        <a:buFontTx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100000"/>
        </a:lnSpc>
        <a:spcBef>
          <a:spcPts val="800"/>
        </a:spcBef>
        <a:buFontTx/>
        <a:buNone/>
        <a:defRPr sz="1400" b="1" kern="1200">
          <a:solidFill>
            <a:schemeClr val="tx1"/>
          </a:solidFill>
          <a:latin typeface="+mj-lt"/>
          <a:ea typeface="+mn-ea"/>
          <a:cs typeface="+mn-cs"/>
        </a:defRPr>
      </a:lvl2pPr>
      <a:lvl3pPr marL="216000" indent="-216000" algn="l" defTabSz="914400" rtl="0" eaLnBrk="1" latinLnBrk="0" hangingPunct="1">
        <a:lnSpc>
          <a:spcPct val="100000"/>
        </a:lnSpc>
        <a:spcBef>
          <a:spcPts val="800"/>
        </a:spcBef>
        <a:buClr>
          <a:schemeClr val="bg2"/>
        </a:buClr>
        <a:buFont typeface="Wingdings" panose="05000000000000000000" pitchFamily="2" charset="2"/>
        <a:buChar char="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360000" indent="-144000" algn="l" defTabSz="914400" rtl="0" eaLnBrk="1" latinLnBrk="0" hangingPunct="1">
        <a:lnSpc>
          <a:spcPct val="100000"/>
        </a:lnSpc>
        <a:spcBef>
          <a:spcPts val="400"/>
        </a:spcBef>
        <a:buClr>
          <a:schemeClr val="bg2"/>
        </a:buClr>
        <a:buFont typeface="Symbol" panose="05050102010706020507" pitchFamily="18" charset="2"/>
        <a:buChar char="-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360000" indent="-144000" algn="l" defTabSz="914400" rtl="0" eaLnBrk="1" latinLnBrk="0" hangingPunct="1">
        <a:lnSpc>
          <a:spcPct val="100000"/>
        </a:lnSpc>
        <a:spcBef>
          <a:spcPts val="400"/>
        </a:spcBef>
        <a:buClr>
          <a:schemeClr val="bg2"/>
        </a:buClr>
        <a:buFont typeface="Symbol" panose="05050102010706020507" pitchFamily="18" charset="2"/>
        <a:buChar char="-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360000" indent="-144000" algn="l" defTabSz="914400" rtl="0" eaLnBrk="1" latinLnBrk="0" hangingPunct="1">
        <a:lnSpc>
          <a:spcPct val="100000"/>
        </a:lnSpc>
        <a:spcBef>
          <a:spcPts val="400"/>
        </a:spcBef>
        <a:buClr>
          <a:schemeClr val="bg2"/>
        </a:buClr>
        <a:buFont typeface="Symbol" panose="05050102010706020507" pitchFamily="18" charset="2"/>
        <a:buChar char="-"/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360000" indent="-144000" algn="l" defTabSz="914400" rtl="0" eaLnBrk="1" latinLnBrk="0" hangingPunct="1">
        <a:lnSpc>
          <a:spcPct val="100000"/>
        </a:lnSpc>
        <a:spcBef>
          <a:spcPts val="400"/>
        </a:spcBef>
        <a:buClr>
          <a:schemeClr val="bg2"/>
        </a:buClr>
        <a:buFont typeface="Symbol" panose="05050102010706020507" pitchFamily="18" charset="2"/>
        <a:buChar char="-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360000" indent="-144000" algn="l" defTabSz="914400" rtl="0" eaLnBrk="1" latinLnBrk="0" hangingPunct="1">
        <a:lnSpc>
          <a:spcPct val="100000"/>
        </a:lnSpc>
        <a:spcBef>
          <a:spcPts val="400"/>
        </a:spcBef>
        <a:buClr>
          <a:schemeClr val="bg2"/>
        </a:buClr>
        <a:buFont typeface="Symbol" panose="05050102010706020507" pitchFamily="18" charset="2"/>
        <a:buChar char="-"/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360000" indent="-144000" algn="l" defTabSz="914400" rtl="0" eaLnBrk="1" latinLnBrk="0" hangingPunct="1">
        <a:lnSpc>
          <a:spcPct val="100000"/>
        </a:lnSpc>
        <a:spcBef>
          <a:spcPts val="400"/>
        </a:spcBef>
        <a:buClr>
          <a:schemeClr val="bg2"/>
        </a:buClr>
        <a:buFont typeface="Symbol" panose="05050102010706020507" pitchFamily="18" charset="2"/>
        <a:buChar char="-"/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60" pos="529">
          <p15:clr>
            <a:srgbClr val="A4A3A4"/>
          </p15:clr>
        </p15:guide>
        <p15:guide id="61" orient="horz" pos="3974">
          <p15:clr>
            <a:srgbClr val="A4A3A4"/>
          </p15:clr>
        </p15:guide>
        <p15:guide id="62" orient="horz" pos="210">
          <p15:clr>
            <a:srgbClr val="A4A3A4"/>
          </p15:clr>
        </p15:guide>
        <p15:guide id="63" pos="7151">
          <p15:clr>
            <a:srgbClr val="A4A3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26.png"/><Relationship Id="rId4" Type="http://schemas.openxmlformats.org/officeDocument/2006/relationships/image" Target="../media/image25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28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30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7" Type="http://schemas.openxmlformats.org/officeDocument/2006/relationships/image" Target="../media/image35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34.png"/><Relationship Id="rId5" Type="http://schemas.openxmlformats.org/officeDocument/2006/relationships/image" Target="../media/image33.png"/><Relationship Id="rId4" Type="http://schemas.openxmlformats.org/officeDocument/2006/relationships/image" Target="../media/image32.pn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2.png"/><Relationship Id="rId3" Type="http://schemas.openxmlformats.org/officeDocument/2006/relationships/image" Target="../media/image37.png"/><Relationship Id="rId7" Type="http://schemas.openxmlformats.org/officeDocument/2006/relationships/image" Target="../media/image41.jpeg"/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40.png"/><Relationship Id="rId5" Type="http://schemas.openxmlformats.org/officeDocument/2006/relationships/image" Target="../media/image39.png"/><Relationship Id="rId4" Type="http://schemas.openxmlformats.org/officeDocument/2006/relationships/image" Target="../media/image38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jpe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45.png"/><Relationship Id="rId5" Type="http://schemas.openxmlformats.org/officeDocument/2006/relationships/image" Target="../media/image44.png"/><Relationship Id="rId4" Type="http://schemas.openxmlformats.org/officeDocument/2006/relationships/image" Target="../media/image43.jpe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3.xml"/><Relationship Id="rId4" Type="http://schemas.openxmlformats.org/officeDocument/2006/relationships/chart" Target="../charts/chart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3.xml"/><Relationship Id="rId4" Type="http://schemas.openxmlformats.org/officeDocument/2006/relationships/chart" Target="../charts/chart4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png"/><Relationship Id="rId1" Type="http://schemas.openxmlformats.org/officeDocument/2006/relationships/slideLayout" Target="../slideLayouts/slideLayout3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hyperlink" Target="https://doi.org/10.4236/eng.2017.910051" TargetMode="External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g"/><Relationship Id="rId1" Type="http://schemas.openxmlformats.org/officeDocument/2006/relationships/slideLayout" Target="../slideLayouts/slideLayout1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jpg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6282811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3AB1342E-72B7-1081-BFDC-36C3DA7B432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n-US" dirty="0">
                <a:solidFill>
                  <a:srgbClr val="000000"/>
                </a:solidFill>
              </a:rPr>
              <a:t>12.11.2025</a:t>
            </a:r>
          </a:p>
          <a:p>
            <a:pPr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C4BFB14-7CC6-1F10-37EC-D688976EF7F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FE11F066-C7D3-4B2D-BC7E-EC0D86AF6BBF}" type="slidenum">
              <a:rPr lang="de-DE" smtClean="0">
                <a:solidFill>
                  <a:srgbClr val="000000"/>
                </a:solidFill>
              </a:rPr>
              <a:pPr>
                <a:defRPr/>
              </a:pPr>
              <a:t>10</a:t>
            </a:fld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552AF2D2-3757-D164-98FE-DE7E266642E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obotic Module for Automated Insertion: UR10e Collaborative Robot, RG2 Gripper, and Force/Torque Sensor</a:t>
            </a:r>
            <a:endParaRPr lang="en-IN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6C6D1B2-E4E8-FC14-6FA2-54058983F54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defRPr/>
            </a:pPr>
            <a:r>
              <a:rPr lang="de-DE" dirty="0">
                <a:solidFill>
                  <a:srgbClr val="000000"/>
                </a:solidFill>
              </a:rPr>
              <a:t>Alen Sebastian – Development of a Parametric tool for Automated Slot Insulation Insertion in Small scale Electric Stator Production</a:t>
            </a:r>
          </a:p>
          <a:p>
            <a:pPr>
              <a:defRPr/>
            </a:pPr>
            <a:endParaRPr lang="de-DE" dirty="0">
              <a:solidFill>
                <a:srgbClr val="000000"/>
              </a:solidFill>
            </a:endParaRP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D731F7DF-9EAE-40AE-48D8-698986C09570}"/>
              </a:ext>
            </a:extLst>
          </p:cNvPr>
          <p:cNvGrpSpPr/>
          <p:nvPr/>
        </p:nvGrpSpPr>
        <p:grpSpPr>
          <a:xfrm>
            <a:off x="3360972" y="1465653"/>
            <a:ext cx="5040560" cy="1800200"/>
            <a:chOff x="3243965" y="2134273"/>
            <a:chExt cx="5040560" cy="1800200"/>
          </a:xfrm>
        </p:grpSpPr>
        <p:grpSp>
          <p:nvGrpSpPr>
            <p:cNvPr id="13" name="Group 12">
              <a:extLst>
                <a:ext uri="{FF2B5EF4-FFF2-40B4-BE49-F238E27FC236}">
                  <a16:creationId xmlns:a16="http://schemas.microsoft.com/office/drawing/2014/main" id="{D991C698-FA38-C276-58E5-22AF6B31971C}"/>
                </a:ext>
              </a:extLst>
            </p:cNvPr>
            <p:cNvGrpSpPr/>
            <p:nvPr/>
          </p:nvGrpSpPr>
          <p:grpSpPr>
            <a:xfrm>
              <a:off x="4180069" y="2134273"/>
              <a:ext cx="4104456" cy="1800200"/>
              <a:chOff x="4553889" y="1699779"/>
              <a:chExt cx="4104456" cy="1800200"/>
            </a:xfrm>
          </p:grpSpPr>
          <p:sp>
            <p:nvSpPr>
              <p:cNvPr id="6" name="Rectangle 5">
                <a:extLst>
                  <a:ext uri="{FF2B5EF4-FFF2-40B4-BE49-F238E27FC236}">
                    <a16:creationId xmlns:a16="http://schemas.microsoft.com/office/drawing/2014/main" id="{7B1ABFD1-7702-E928-36CF-0809830D29DA}"/>
                  </a:ext>
                </a:extLst>
              </p:cNvPr>
              <p:cNvSpPr/>
              <p:nvPr/>
            </p:nvSpPr>
            <p:spPr>
              <a:xfrm>
                <a:off x="4553889" y="1699779"/>
                <a:ext cx="4104456" cy="1800200"/>
              </a:xfrm>
              <a:prstGeom prst="rect">
                <a:avLst/>
              </a:prstGeom>
              <a:solidFill>
                <a:srgbClr val="C5DE8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0000" tIns="46800" rIns="90000" bIns="468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ts val="600"/>
                  </a:spcBef>
                </a:pPr>
                <a:endParaRPr lang="en-IN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0" name="TextBox 9">
                <a:extLst>
                  <a:ext uri="{FF2B5EF4-FFF2-40B4-BE49-F238E27FC236}">
                    <a16:creationId xmlns:a16="http://schemas.microsoft.com/office/drawing/2014/main" id="{30C8087C-C1D5-EEE9-FA28-674477CAF911}"/>
                  </a:ext>
                </a:extLst>
              </p:cNvPr>
              <p:cNvSpPr txBox="1"/>
              <p:nvPr/>
            </p:nvSpPr>
            <p:spPr>
              <a:xfrm>
                <a:off x="5255673" y="1935454"/>
                <a:ext cx="3402672" cy="144016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noAutofit/>
              </a:bodyPr>
              <a:lstStyle/>
              <a:p>
                <a:pPr algn="ctr">
                  <a:buClr>
                    <a:srgbClr val="97C139"/>
                  </a:buClr>
                </a:pPr>
                <a:r>
                  <a:rPr lang="en-US" b="1" u="sng" dirty="0"/>
                  <a:t>UR10e </a:t>
                </a:r>
                <a:r>
                  <a:rPr lang="en-US" b="1" u="sng" dirty="0" err="1"/>
                  <a:t>Cobot</a:t>
                </a:r>
                <a:r>
                  <a:rPr lang="en-US" b="1" u="sng" dirty="0"/>
                  <a:t>:</a:t>
                </a:r>
              </a:p>
              <a:p>
                <a:pPr>
                  <a:buClr>
                    <a:srgbClr val="97C139"/>
                  </a:buClr>
                </a:pPr>
                <a:r>
                  <a:rPr lang="en-IN" dirty="0"/>
                  <a:t> Precise programmable motion</a:t>
                </a:r>
                <a:br>
                  <a:rPr lang="en-IN" dirty="0"/>
                </a:br>
                <a:r>
                  <a:rPr lang="en-IN" dirty="0"/>
                  <a:t>12.5 kg payload</a:t>
                </a:r>
                <a:br>
                  <a:rPr lang="en-IN" dirty="0"/>
                </a:br>
                <a:r>
                  <a:rPr lang="en-IN" dirty="0"/>
                  <a:t>1300 mm reach</a:t>
                </a:r>
                <a:br>
                  <a:rPr lang="en-IN" dirty="0"/>
                </a:br>
                <a:r>
                  <a:rPr lang="en-IN" dirty="0"/>
                  <a:t>Compact and safe</a:t>
                </a:r>
                <a:br>
                  <a:rPr lang="en-IN" dirty="0"/>
                </a:br>
                <a:r>
                  <a:rPr lang="en-IN" dirty="0"/>
                  <a:t>Easily adaptable for flexible manufacturing</a:t>
                </a:r>
                <a:br>
                  <a:rPr lang="en-IN" sz="1200" dirty="0"/>
                </a:br>
                <a:endParaRPr lang="en-IN" sz="1200" dirty="0"/>
              </a:p>
            </p:txBody>
          </p:sp>
        </p:grpSp>
        <p:grpSp>
          <p:nvGrpSpPr>
            <p:cNvPr id="15" name="Group 14">
              <a:extLst>
                <a:ext uri="{FF2B5EF4-FFF2-40B4-BE49-F238E27FC236}">
                  <a16:creationId xmlns:a16="http://schemas.microsoft.com/office/drawing/2014/main" id="{EFE38860-B247-775A-FA20-DB5F09347EE7}"/>
                </a:ext>
              </a:extLst>
            </p:cNvPr>
            <p:cNvGrpSpPr/>
            <p:nvPr/>
          </p:nvGrpSpPr>
          <p:grpSpPr>
            <a:xfrm>
              <a:off x="3243965" y="2134273"/>
              <a:ext cx="1654908" cy="1800200"/>
              <a:chOff x="1991544" y="1844824"/>
              <a:chExt cx="1654908" cy="1800200"/>
            </a:xfrm>
          </p:grpSpPr>
          <p:sp>
            <p:nvSpPr>
              <p:cNvPr id="16" name="Oval 15">
                <a:extLst>
                  <a:ext uri="{FF2B5EF4-FFF2-40B4-BE49-F238E27FC236}">
                    <a16:creationId xmlns:a16="http://schemas.microsoft.com/office/drawing/2014/main" id="{79DF09AF-5980-D5A7-9605-9634F8D06BD1}"/>
                  </a:ext>
                </a:extLst>
              </p:cNvPr>
              <p:cNvSpPr/>
              <p:nvPr/>
            </p:nvSpPr>
            <p:spPr>
              <a:xfrm>
                <a:off x="1991544" y="1844824"/>
                <a:ext cx="1654908" cy="1800200"/>
              </a:xfrm>
              <a:prstGeom prst="ellipse">
                <a:avLst/>
              </a:prstGeom>
              <a:solidFill>
                <a:srgbClr val="C5DE8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0000" tIns="46800" rIns="90000" bIns="468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ts val="600"/>
                  </a:spcBef>
                </a:pPr>
                <a:endParaRPr lang="en-IN" dirty="0" err="1">
                  <a:solidFill>
                    <a:schemeClr val="tx1"/>
                  </a:solidFill>
                </a:endParaRPr>
              </a:p>
            </p:txBody>
          </p:sp>
          <p:pic>
            <p:nvPicPr>
              <p:cNvPr id="17" name="Picture 16" descr="A close-up of a robotic arm&#10;&#10;AI-generated content may be incorrect.">
                <a:extLst>
                  <a:ext uri="{FF2B5EF4-FFF2-40B4-BE49-F238E27FC236}">
                    <a16:creationId xmlns:a16="http://schemas.microsoft.com/office/drawing/2014/main" id="{ABBCF2FB-FCE9-42A8-CCB8-88E91074AF1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2081555" y="1989868"/>
                <a:ext cx="1474886" cy="1510111"/>
              </a:xfrm>
              <a:prstGeom prst="rect">
                <a:avLst/>
              </a:prstGeom>
            </p:spPr>
          </p:pic>
        </p:grpSp>
      </p:grpSp>
      <p:grpSp>
        <p:nvGrpSpPr>
          <p:cNvPr id="27" name="Group 26">
            <a:extLst>
              <a:ext uri="{FF2B5EF4-FFF2-40B4-BE49-F238E27FC236}">
                <a16:creationId xmlns:a16="http://schemas.microsoft.com/office/drawing/2014/main" id="{FC0DD0CB-5A0D-DEB6-F225-34279B5E5BFF}"/>
              </a:ext>
            </a:extLst>
          </p:cNvPr>
          <p:cNvGrpSpPr/>
          <p:nvPr/>
        </p:nvGrpSpPr>
        <p:grpSpPr>
          <a:xfrm>
            <a:off x="817798" y="3899809"/>
            <a:ext cx="5040560" cy="1800200"/>
            <a:chOff x="817798" y="3899809"/>
            <a:chExt cx="5040560" cy="1800200"/>
          </a:xfrm>
        </p:grpSpPr>
        <p:grpSp>
          <p:nvGrpSpPr>
            <p:cNvPr id="19" name="Group 18">
              <a:extLst>
                <a:ext uri="{FF2B5EF4-FFF2-40B4-BE49-F238E27FC236}">
                  <a16:creationId xmlns:a16="http://schemas.microsoft.com/office/drawing/2014/main" id="{A03EFEDC-7673-3717-41C5-429558B95932}"/>
                </a:ext>
              </a:extLst>
            </p:cNvPr>
            <p:cNvGrpSpPr/>
            <p:nvPr/>
          </p:nvGrpSpPr>
          <p:grpSpPr>
            <a:xfrm>
              <a:off x="817798" y="3899809"/>
              <a:ext cx="5040560" cy="1800200"/>
              <a:chOff x="3243965" y="2134273"/>
              <a:chExt cx="5040560" cy="1800200"/>
            </a:xfrm>
          </p:grpSpPr>
          <p:grpSp>
            <p:nvGrpSpPr>
              <p:cNvPr id="20" name="Group 19">
                <a:extLst>
                  <a:ext uri="{FF2B5EF4-FFF2-40B4-BE49-F238E27FC236}">
                    <a16:creationId xmlns:a16="http://schemas.microsoft.com/office/drawing/2014/main" id="{260D6AB1-C111-3297-8C46-38B2D06203B6}"/>
                  </a:ext>
                </a:extLst>
              </p:cNvPr>
              <p:cNvGrpSpPr/>
              <p:nvPr/>
            </p:nvGrpSpPr>
            <p:grpSpPr>
              <a:xfrm>
                <a:off x="4180069" y="2134273"/>
                <a:ext cx="4104456" cy="1800200"/>
                <a:chOff x="4553889" y="1699779"/>
                <a:chExt cx="4104456" cy="1800200"/>
              </a:xfrm>
            </p:grpSpPr>
            <p:sp>
              <p:nvSpPr>
                <p:cNvPr id="24" name="Rectangle 23">
                  <a:extLst>
                    <a:ext uri="{FF2B5EF4-FFF2-40B4-BE49-F238E27FC236}">
                      <a16:creationId xmlns:a16="http://schemas.microsoft.com/office/drawing/2014/main" id="{D4A2AFAF-C98F-E47C-8D37-E547A6AAFC00}"/>
                    </a:ext>
                  </a:extLst>
                </p:cNvPr>
                <p:cNvSpPr/>
                <p:nvPr/>
              </p:nvSpPr>
              <p:spPr>
                <a:xfrm>
                  <a:off x="4553889" y="1699779"/>
                  <a:ext cx="4104456" cy="1800200"/>
                </a:xfrm>
                <a:prstGeom prst="rect">
                  <a:avLst/>
                </a:prstGeom>
                <a:solidFill>
                  <a:srgbClr val="C5DE8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0000" tIns="46800" rIns="90000" bIns="468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spcBef>
                      <a:spcPts val="600"/>
                    </a:spcBef>
                  </a:pPr>
                  <a:endParaRPr lang="en-IN" dirty="0" err="1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25" name="TextBox 24">
                  <a:extLst>
                    <a:ext uri="{FF2B5EF4-FFF2-40B4-BE49-F238E27FC236}">
                      <a16:creationId xmlns:a16="http://schemas.microsoft.com/office/drawing/2014/main" id="{575892CE-A506-751E-50E3-40096830A8D2}"/>
                    </a:ext>
                  </a:extLst>
                </p:cNvPr>
                <p:cNvSpPr txBox="1"/>
                <p:nvPr/>
              </p:nvSpPr>
              <p:spPr>
                <a:xfrm>
                  <a:off x="5324438" y="1897707"/>
                  <a:ext cx="3333907" cy="1440160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noAutofit/>
                </a:bodyPr>
                <a:lstStyle/>
                <a:p>
                  <a:pPr algn="ctr">
                    <a:buClr>
                      <a:srgbClr val="97C139"/>
                    </a:buClr>
                  </a:pPr>
                  <a:r>
                    <a:rPr lang="en-US" b="1" u="sng" dirty="0"/>
                    <a:t>RG2 Gripper:</a:t>
                  </a:r>
                </a:p>
                <a:p>
                  <a:pPr>
                    <a:buClr>
                      <a:srgbClr val="97C139"/>
                    </a:buClr>
                  </a:pPr>
                  <a:r>
                    <a:rPr lang="en-IN" dirty="0"/>
                    <a:t>Adjustable 2 finger gripper</a:t>
                  </a:r>
                  <a:br>
                    <a:rPr lang="en-IN" dirty="0"/>
                  </a:br>
                  <a:r>
                    <a:rPr lang="en-IN" dirty="0"/>
                    <a:t>110 mm stroke length</a:t>
                  </a:r>
                  <a:br>
                    <a:rPr lang="en-IN" dirty="0"/>
                  </a:br>
                  <a:r>
                    <a:rPr lang="en-IN" dirty="0"/>
                    <a:t>Intelligent grip detection</a:t>
                  </a:r>
                  <a:br>
                    <a:rPr lang="en-IN" dirty="0"/>
                  </a:br>
                  <a:r>
                    <a:rPr lang="en-IN" dirty="0"/>
                    <a:t>Customizable fingertips</a:t>
                  </a:r>
                  <a:br>
                    <a:rPr lang="en-IN" dirty="0"/>
                  </a:br>
                  <a:r>
                    <a:rPr lang="en-IN" dirty="0"/>
                    <a:t>Suitable for secure handling of Slot Liners</a:t>
                  </a:r>
                  <a:br>
                    <a:rPr lang="en-IN" dirty="0"/>
                  </a:br>
                  <a:endParaRPr lang="en-IN" dirty="0"/>
                </a:p>
              </p:txBody>
            </p:sp>
          </p:grpSp>
          <p:sp>
            <p:nvSpPr>
              <p:cNvPr id="22" name="Oval 21">
                <a:extLst>
                  <a:ext uri="{FF2B5EF4-FFF2-40B4-BE49-F238E27FC236}">
                    <a16:creationId xmlns:a16="http://schemas.microsoft.com/office/drawing/2014/main" id="{CF1F0AFB-0BD2-7C88-6AA9-53FCE284E072}"/>
                  </a:ext>
                </a:extLst>
              </p:cNvPr>
              <p:cNvSpPr/>
              <p:nvPr/>
            </p:nvSpPr>
            <p:spPr>
              <a:xfrm>
                <a:off x="3243965" y="2134273"/>
                <a:ext cx="1706653" cy="1800200"/>
              </a:xfrm>
              <a:prstGeom prst="ellipse">
                <a:avLst/>
              </a:prstGeom>
              <a:solidFill>
                <a:srgbClr val="C5DE8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0000" tIns="46800" rIns="90000" bIns="468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ts val="600"/>
                  </a:spcBef>
                </a:pPr>
                <a:endParaRPr lang="en-IN" dirty="0" err="1">
                  <a:solidFill>
                    <a:schemeClr val="tx1"/>
                  </a:solidFill>
                </a:endParaRPr>
              </a:p>
            </p:txBody>
          </p:sp>
        </p:grpSp>
        <p:pic>
          <p:nvPicPr>
            <p:cNvPr id="26" name="Picture 25" descr="A close-up of a robot&#10;&#10;AI-generated content may be incorrect.">
              <a:extLst>
                <a:ext uri="{FF2B5EF4-FFF2-40B4-BE49-F238E27FC236}">
                  <a16:creationId xmlns:a16="http://schemas.microsoft.com/office/drawing/2014/main" id="{3E507F3A-10C9-F086-5C3F-BF4F491B631D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56670" y="4148759"/>
              <a:ext cx="1238444" cy="1302301"/>
            </a:xfrm>
            <a:prstGeom prst="rect">
              <a:avLst/>
            </a:prstGeom>
          </p:spPr>
        </p:pic>
      </p:grpSp>
      <p:grpSp>
        <p:nvGrpSpPr>
          <p:cNvPr id="36" name="Group 35">
            <a:extLst>
              <a:ext uri="{FF2B5EF4-FFF2-40B4-BE49-F238E27FC236}">
                <a16:creationId xmlns:a16="http://schemas.microsoft.com/office/drawing/2014/main" id="{87C09112-50A5-8547-9743-6AFE234AB082}"/>
              </a:ext>
            </a:extLst>
          </p:cNvPr>
          <p:cNvGrpSpPr/>
          <p:nvPr/>
        </p:nvGrpSpPr>
        <p:grpSpPr>
          <a:xfrm>
            <a:off x="6364323" y="3897351"/>
            <a:ext cx="5086348" cy="1800200"/>
            <a:chOff x="6364323" y="3897351"/>
            <a:chExt cx="5086348" cy="1800200"/>
          </a:xfrm>
        </p:grpSpPr>
        <p:grpSp>
          <p:nvGrpSpPr>
            <p:cNvPr id="28" name="Group 27">
              <a:extLst>
                <a:ext uri="{FF2B5EF4-FFF2-40B4-BE49-F238E27FC236}">
                  <a16:creationId xmlns:a16="http://schemas.microsoft.com/office/drawing/2014/main" id="{DE78CA08-AB11-F9F1-B9E6-F2EC8C7AFE1C}"/>
                </a:ext>
              </a:extLst>
            </p:cNvPr>
            <p:cNvGrpSpPr/>
            <p:nvPr/>
          </p:nvGrpSpPr>
          <p:grpSpPr>
            <a:xfrm>
              <a:off x="6364323" y="3897351"/>
              <a:ext cx="5086348" cy="1800200"/>
              <a:chOff x="3243965" y="2134273"/>
              <a:chExt cx="5086348" cy="1800200"/>
            </a:xfrm>
          </p:grpSpPr>
          <p:grpSp>
            <p:nvGrpSpPr>
              <p:cNvPr id="29" name="Group 28">
                <a:extLst>
                  <a:ext uri="{FF2B5EF4-FFF2-40B4-BE49-F238E27FC236}">
                    <a16:creationId xmlns:a16="http://schemas.microsoft.com/office/drawing/2014/main" id="{132F171C-3786-B017-1BCB-EF678635DEB6}"/>
                  </a:ext>
                </a:extLst>
              </p:cNvPr>
              <p:cNvGrpSpPr/>
              <p:nvPr/>
            </p:nvGrpSpPr>
            <p:grpSpPr>
              <a:xfrm>
                <a:off x="4180069" y="2134273"/>
                <a:ext cx="4150244" cy="1800200"/>
                <a:chOff x="4553889" y="1699779"/>
                <a:chExt cx="4150244" cy="1800200"/>
              </a:xfrm>
            </p:grpSpPr>
            <p:sp>
              <p:nvSpPr>
                <p:cNvPr id="33" name="Rectangle 32">
                  <a:extLst>
                    <a:ext uri="{FF2B5EF4-FFF2-40B4-BE49-F238E27FC236}">
                      <a16:creationId xmlns:a16="http://schemas.microsoft.com/office/drawing/2014/main" id="{EB250A43-22DB-2A84-1703-3C5204FF41BC}"/>
                    </a:ext>
                  </a:extLst>
                </p:cNvPr>
                <p:cNvSpPr/>
                <p:nvPr/>
              </p:nvSpPr>
              <p:spPr>
                <a:xfrm>
                  <a:off x="4553889" y="1699779"/>
                  <a:ext cx="4104456" cy="1800200"/>
                </a:xfrm>
                <a:prstGeom prst="rect">
                  <a:avLst/>
                </a:prstGeom>
                <a:solidFill>
                  <a:srgbClr val="C5DE8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0000" tIns="46800" rIns="90000" bIns="468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spcBef>
                      <a:spcPts val="600"/>
                    </a:spcBef>
                  </a:pPr>
                  <a:endParaRPr lang="en-IN" dirty="0" err="1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34" name="TextBox 33">
                  <a:extLst>
                    <a:ext uri="{FF2B5EF4-FFF2-40B4-BE49-F238E27FC236}">
                      <a16:creationId xmlns:a16="http://schemas.microsoft.com/office/drawing/2014/main" id="{1804ADA1-1338-CB3C-C7E0-FF278CE7507B}"/>
                    </a:ext>
                  </a:extLst>
                </p:cNvPr>
                <p:cNvSpPr txBox="1"/>
                <p:nvPr/>
              </p:nvSpPr>
              <p:spPr>
                <a:xfrm>
                  <a:off x="5665118" y="1898997"/>
                  <a:ext cx="3039015" cy="1440160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noAutofit/>
                </a:bodyPr>
                <a:lstStyle/>
                <a:p>
                  <a:pPr algn="ctr">
                    <a:buClr>
                      <a:srgbClr val="97C139"/>
                    </a:buClr>
                  </a:pPr>
                  <a:r>
                    <a:rPr lang="en-US" b="1" u="sng" dirty="0"/>
                    <a:t>HEX Force-Torque Sensor:</a:t>
                  </a:r>
                </a:p>
                <a:p>
                  <a:pPr>
                    <a:buClr>
                      <a:srgbClr val="97C139"/>
                    </a:buClr>
                  </a:pPr>
                  <a:r>
                    <a:rPr lang="en-IN" dirty="0"/>
                    <a:t>Real-time force monitoring</a:t>
                  </a:r>
                  <a:br>
                    <a:rPr lang="en-IN" dirty="0"/>
                  </a:br>
                  <a:r>
                    <a:rPr lang="en-IN" dirty="0"/>
                    <a:t>6 axis Force Torque measurement</a:t>
                  </a:r>
                  <a:br>
                    <a:rPr lang="en-IN" dirty="0"/>
                  </a:br>
                  <a:r>
                    <a:rPr lang="en-IN" dirty="0"/>
                    <a:t>Ensures accurate insertion of liner</a:t>
                  </a:r>
                  <a:br>
                    <a:rPr lang="en-IN" dirty="0"/>
                  </a:br>
                  <a:r>
                    <a:rPr lang="en-IN" dirty="0"/>
                    <a:t>Misalignment detection</a:t>
                  </a:r>
                  <a:br>
                    <a:rPr lang="en-IN" dirty="0"/>
                  </a:br>
                  <a:r>
                    <a:rPr lang="en-IN" dirty="0"/>
                    <a:t>Configurable force thresholds</a:t>
                  </a:r>
                </a:p>
                <a:p>
                  <a:pPr>
                    <a:buClr>
                      <a:srgbClr val="97C139"/>
                    </a:buClr>
                  </a:pPr>
                  <a:br>
                    <a:rPr lang="en-IN" sz="1200" dirty="0"/>
                  </a:br>
                  <a:endParaRPr lang="en-IN" sz="1200" dirty="0"/>
                </a:p>
              </p:txBody>
            </p:sp>
          </p:grpSp>
          <p:sp>
            <p:nvSpPr>
              <p:cNvPr id="31" name="Oval 30">
                <a:extLst>
                  <a:ext uri="{FF2B5EF4-FFF2-40B4-BE49-F238E27FC236}">
                    <a16:creationId xmlns:a16="http://schemas.microsoft.com/office/drawing/2014/main" id="{2339E629-815B-C412-BDDC-1179D6D77C86}"/>
                  </a:ext>
                </a:extLst>
              </p:cNvPr>
              <p:cNvSpPr/>
              <p:nvPr/>
            </p:nvSpPr>
            <p:spPr>
              <a:xfrm>
                <a:off x="3243965" y="2134273"/>
                <a:ext cx="1872208" cy="1800200"/>
              </a:xfrm>
              <a:prstGeom prst="ellipse">
                <a:avLst/>
              </a:prstGeom>
              <a:solidFill>
                <a:srgbClr val="C5DE8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0000" tIns="46800" rIns="90000" bIns="468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ts val="600"/>
                  </a:spcBef>
                </a:pPr>
                <a:endParaRPr lang="en-IN" dirty="0" err="1">
                  <a:solidFill>
                    <a:schemeClr val="tx1"/>
                  </a:solidFill>
                </a:endParaRPr>
              </a:p>
            </p:txBody>
          </p:sp>
        </p:grpSp>
        <p:pic>
          <p:nvPicPr>
            <p:cNvPr id="35" name="Picture 34" descr="A close-up of a robot&#10;&#10;AI-generated content may be incorrect.">
              <a:extLst>
                <a:ext uri="{FF2B5EF4-FFF2-40B4-BE49-F238E27FC236}">
                  <a16:creationId xmlns:a16="http://schemas.microsoft.com/office/drawing/2014/main" id="{207308DB-656A-4FD1-EBE0-6EF659073D42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526449" y="4148759"/>
              <a:ext cx="1456380" cy="1254334"/>
            </a:xfrm>
            <a:prstGeom prst="rect">
              <a:avLst/>
            </a:prstGeom>
          </p:spPr>
        </p:pic>
      </p:grpSp>
      <p:sp>
        <p:nvSpPr>
          <p:cNvPr id="7" name="TextBox 6">
            <a:extLst>
              <a:ext uri="{FF2B5EF4-FFF2-40B4-BE49-F238E27FC236}">
                <a16:creationId xmlns:a16="http://schemas.microsoft.com/office/drawing/2014/main" id="{C94AD0A9-F402-28FA-C210-DFEA73139A88}"/>
              </a:ext>
            </a:extLst>
          </p:cNvPr>
          <p:cNvSpPr txBox="1"/>
          <p:nvPr/>
        </p:nvSpPr>
        <p:spPr>
          <a:xfrm>
            <a:off x="9132390" y="6204761"/>
            <a:ext cx="3030764" cy="3915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buClr>
                <a:srgbClr val="97C139"/>
              </a:buClr>
            </a:pPr>
            <a:r>
              <a:rPr lang="en-US" dirty="0"/>
              <a:t>Source: UR robots [5], On robot [6]</a:t>
            </a:r>
            <a:endParaRPr lang="en-IN" dirty="0" err="1"/>
          </a:p>
        </p:txBody>
      </p:sp>
    </p:spTree>
    <p:extLst>
      <p:ext uri="{BB962C8B-B14F-4D97-AF65-F5344CB8AC3E}">
        <p14:creationId xmlns:p14="http://schemas.microsoft.com/office/powerpoint/2010/main" val="249910931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A743531-96FF-9F0A-4CC1-FAE24CD0BF2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8F7799B9-A33D-8C61-1A46-CDC2783655F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n-US" dirty="0">
                <a:solidFill>
                  <a:srgbClr val="000000"/>
                </a:solidFill>
              </a:rPr>
              <a:t>12.11.2025</a:t>
            </a:r>
          </a:p>
          <a:p>
            <a:pPr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43D98E7-660B-DD04-7F16-688765779EB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FE11F066-C7D3-4B2D-BC7E-EC0D86AF6BBF}" type="slidenum">
              <a:rPr lang="de-DE" smtClean="0">
                <a:solidFill>
                  <a:srgbClr val="000000"/>
                </a:solidFill>
              </a:rPr>
              <a:pPr>
                <a:defRPr/>
              </a:pPr>
              <a:t>11</a:t>
            </a:fld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1F5F885D-384E-C75E-A31A-3DA02F02A62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echanical fixtures were designed to ensure precise and reliable positioning of the stator, slot liner, and funnel throughout the assembly process.</a:t>
            </a:r>
            <a:endParaRPr lang="en-IN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6D9DC25-B43C-62C6-53B4-6049DC4B244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defRPr/>
            </a:pPr>
            <a:r>
              <a:rPr lang="de-DE" dirty="0">
                <a:solidFill>
                  <a:srgbClr val="000000"/>
                </a:solidFill>
              </a:rPr>
              <a:t>Alen Sebastian – Development of a Parametric tool for Automated Slot Insulation Insertion in Small scale Electric Stator Production</a:t>
            </a:r>
          </a:p>
          <a:p>
            <a:pPr>
              <a:defRPr/>
            </a:pP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F95E60C4-4FBA-70E0-21CD-68BF62817D4E}"/>
              </a:ext>
            </a:extLst>
          </p:cNvPr>
          <p:cNvSpPr/>
          <p:nvPr/>
        </p:nvSpPr>
        <p:spPr>
          <a:xfrm>
            <a:off x="1499930" y="1119888"/>
            <a:ext cx="5555341" cy="461033"/>
          </a:xfrm>
          <a:prstGeom prst="rect">
            <a:avLst/>
          </a:prstGeom>
          <a:solidFill>
            <a:srgbClr val="97C139"/>
          </a:solidFill>
          <a:ln>
            <a:solidFill>
              <a:schemeClr val="tx1">
                <a:lumMod val="95000"/>
                <a:lumOff val="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0000" tIns="46800" rIns="90000" bIns="468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600"/>
              </a:spcBef>
            </a:pPr>
            <a:endParaRPr lang="en-IN" dirty="0" err="1">
              <a:solidFill>
                <a:schemeClr val="tx1"/>
              </a:solidFill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345BD6CA-DC11-8DDA-6E24-CAE0BA0BBEE9}"/>
              </a:ext>
            </a:extLst>
          </p:cNvPr>
          <p:cNvSpPr/>
          <p:nvPr/>
        </p:nvSpPr>
        <p:spPr>
          <a:xfrm>
            <a:off x="1499930" y="1580921"/>
            <a:ext cx="5524336" cy="1969401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0000" tIns="46800" rIns="90000" bIns="468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600"/>
              </a:spcBef>
            </a:pPr>
            <a:endParaRPr lang="en-IN" dirty="0" err="1">
              <a:solidFill>
                <a:schemeClr val="tx1"/>
              </a:solidFill>
            </a:endParaRPr>
          </a:p>
        </p:txBody>
      </p:sp>
      <p:pic>
        <p:nvPicPr>
          <p:cNvPr id="23" name="Picture 22" descr="A machine with a circular object&#10;&#10;AI-generated content may be incorrect.">
            <a:extLst>
              <a:ext uri="{FF2B5EF4-FFF2-40B4-BE49-F238E27FC236}">
                <a16:creationId xmlns:a16="http://schemas.microsoft.com/office/drawing/2014/main" id="{E5ED99AB-1422-DAB6-196C-61C5661EDFF0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647" t="36409" r="11580" b="17972"/>
          <a:stretch>
            <a:fillRect/>
          </a:stretch>
        </p:blipFill>
        <p:spPr bwMode="auto">
          <a:xfrm>
            <a:off x="7024266" y="1111021"/>
            <a:ext cx="2859278" cy="245052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29" name="TextBox 28">
            <a:extLst>
              <a:ext uri="{FF2B5EF4-FFF2-40B4-BE49-F238E27FC236}">
                <a16:creationId xmlns:a16="http://schemas.microsoft.com/office/drawing/2014/main" id="{B5079677-0229-3A0C-3A7F-0F9729E3B013}"/>
              </a:ext>
            </a:extLst>
          </p:cNvPr>
          <p:cNvSpPr txBox="1"/>
          <p:nvPr/>
        </p:nvSpPr>
        <p:spPr>
          <a:xfrm>
            <a:off x="2122007" y="1227327"/>
            <a:ext cx="4261087" cy="36004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>
              <a:buClr>
                <a:srgbClr val="97C139"/>
              </a:buClr>
            </a:pPr>
            <a:r>
              <a:rPr lang="en-US" b="1" u="sng" dirty="0"/>
              <a:t>Rotating Mechanical Clamp</a:t>
            </a:r>
            <a:endParaRPr lang="en-IN" b="1" u="sng" dirty="0" err="1"/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E18D1A7E-0965-CB46-A9C2-BA737039FF7A}"/>
              </a:ext>
            </a:extLst>
          </p:cNvPr>
          <p:cNvSpPr txBox="1"/>
          <p:nvPr/>
        </p:nvSpPr>
        <p:spPr>
          <a:xfrm>
            <a:off x="1587185" y="1748721"/>
            <a:ext cx="5380830" cy="155851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buClr>
                <a:srgbClr val="97C139"/>
              </a:buClr>
            </a:pPr>
            <a:r>
              <a:rPr lang="en-US" dirty="0"/>
              <a:t>1). Automatic Slot Alignment</a:t>
            </a:r>
            <a:r>
              <a:rPr lang="en-US" b="1" dirty="0"/>
              <a:t>:</a:t>
            </a:r>
            <a:r>
              <a:rPr lang="en-US" dirty="0"/>
              <a:t> User-defined rotation ensures perfect alignment of each slot for insertion.</a:t>
            </a:r>
            <a:br>
              <a:rPr lang="en-US" dirty="0"/>
            </a:br>
            <a:br>
              <a:rPr lang="en-US" dirty="0"/>
            </a:br>
            <a:r>
              <a:rPr lang="en-US" dirty="0"/>
              <a:t>2). Servo Motor + Siemens S7-1500 PLC - Provides precise, deterministic low-level motion control.</a:t>
            </a:r>
            <a:br>
              <a:rPr lang="en-US" dirty="0"/>
            </a:br>
            <a:br>
              <a:rPr lang="en-US" dirty="0"/>
            </a:br>
            <a:r>
              <a:rPr lang="en-US" dirty="0"/>
              <a:t>3). Manual origin calibration, stop-rotation function for safety, collision avoidance, and adaptability</a:t>
            </a:r>
            <a:br>
              <a:rPr lang="en-US" dirty="0"/>
            </a:br>
            <a:endParaRPr lang="en-US" dirty="0"/>
          </a:p>
          <a:p>
            <a:pPr>
              <a:buClr>
                <a:srgbClr val="97C139"/>
              </a:buClr>
            </a:pPr>
            <a:endParaRPr lang="en-IN" dirty="0" err="1"/>
          </a:p>
        </p:txBody>
      </p:sp>
      <p:pic>
        <p:nvPicPr>
          <p:cNvPr id="15" name="Picture 14" descr="A machine with a mechanical arm&#10;&#10;AI-generated content may be incorrect.">
            <a:extLst>
              <a:ext uri="{FF2B5EF4-FFF2-40B4-BE49-F238E27FC236}">
                <a16:creationId xmlns:a16="http://schemas.microsoft.com/office/drawing/2014/main" id="{E4640BBA-6672-97A8-A9B7-8733E68C166A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911" t="1574" r="601" b="24890"/>
          <a:stretch>
            <a:fillRect/>
          </a:stretch>
        </p:blipFill>
        <p:spPr bwMode="auto">
          <a:xfrm>
            <a:off x="6856492" y="3633152"/>
            <a:ext cx="3027052" cy="2613842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grpSp>
        <p:nvGrpSpPr>
          <p:cNvPr id="9" name="Group 8">
            <a:extLst>
              <a:ext uri="{FF2B5EF4-FFF2-40B4-BE49-F238E27FC236}">
                <a16:creationId xmlns:a16="http://schemas.microsoft.com/office/drawing/2014/main" id="{80DA4AED-5E26-8C28-620D-42FB9F9930E2}"/>
              </a:ext>
            </a:extLst>
          </p:cNvPr>
          <p:cNvGrpSpPr/>
          <p:nvPr/>
        </p:nvGrpSpPr>
        <p:grpSpPr>
          <a:xfrm>
            <a:off x="1460698" y="3633152"/>
            <a:ext cx="5531210" cy="2613842"/>
            <a:chOff x="2833430" y="3488045"/>
            <a:chExt cx="4339225" cy="2399172"/>
          </a:xfrm>
        </p:grpSpPr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9AE4F478-2883-EBE4-D27E-0F86ADEDBC62}"/>
                </a:ext>
              </a:extLst>
            </p:cNvPr>
            <p:cNvSpPr/>
            <p:nvPr/>
          </p:nvSpPr>
          <p:spPr>
            <a:xfrm>
              <a:off x="2849229" y="3488045"/>
              <a:ext cx="4320481" cy="385113"/>
            </a:xfrm>
            <a:prstGeom prst="rect">
              <a:avLst/>
            </a:prstGeom>
            <a:solidFill>
              <a:srgbClr val="97C13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0000" tIns="46800" rIns="90000" bIns="468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600"/>
                </a:spcBef>
              </a:pPr>
              <a:endParaRPr lang="en-IN" dirty="0" err="1">
                <a:solidFill>
                  <a:schemeClr val="tx1"/>
                </a:solidFill>
              </a:endParaRPr>
            </a:p>
          </p:txBody>
        </p:sp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26D0C2C4-9988-EF05-065D-7F5A38F92941}"/>
                </a:ext>
              </a:extLst>
            </p:cNvPr>
            <p:cNvGrpSpPr/>
            <p:nvPr/>
          </p:nvGrpSpPr>
          <p:grpSpPr>
            <a:xfrm>
              <a:off x="2833430" y="3579639"/>
              <a:ext cx="4339225" cy="2307578"/>
              <a:chOff x="2825322" y="3591210"/>
              <a:chExt cx="4339225" cy="2307578"/>
            </a:xfrm>
          </p:grpSpPr>
          <p:sp>
            <p:nvSpPr>
              <p:cNvPr id="30" name="Rectangle 29">
                <a:extLst>
                  <a:ext uri="{FF2B5EF4-FFF2-40B4-BE49-F238E27FC236}">
                    <a16:creationId xmlns:a16="http://schemas.microsoft.com/office/drawing/2014/main" id="{3E7C5AA2-E307-3821-33F9-9C06EC4BF624}"/>
                  </a:ext>
                </a:extLst>
              </p:cNvPr>
              <p:cNvSpPr/>
              <p:nvPr/>
            </p:nvSpPr>
            <p:spPr>
              <a:xfrm>
                <a:off x="2844066" y="3868833"/>
                <a:ext cx="4320481" cy="2029955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tx1">
                    <a:lumMod val="95000"/>
                    <a:lumOff val="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0000" tIns="46800" rIns="90000" bIns="468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ts val="600"/>
                  </a:spcBef>
                </a:pPr>
                <a:endParaRPr lang="en-IN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40" name="TextBox 39">
                <a:extLst>
                  <a:ext uri="{FF2B5EF4-FFF2-40B4-BE49-F238E27FC236}">
                    <a16:creationId xmlns:a16="http://schemas.microsoft.com/office/drawing/2014/main" id="{44C6AED3-F402-5330-2882-FB29BA706B1F}"/>
                  </a:ext>
                </a:extLst>
              </p:cNvPr>
              <p:cNvSpPr txBox="1"/>
              <p:nvPr/>
            </p:nvSpPr>
            <p:spPr>
              <a:xfrm>
                <a:off x="2825322" y="3591210"/>
                <a:ext cx="4320481" cy="385113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noAutofit/>
              </a:bodyPr>
              <a:lstStyle/>
              <a:p>
                <a:pPr algn="ctr">
                  <a:buClr>
                    <a:srgbClr val="97C139"/>
                  </a:buClr>
                </a:pPr>
                <a:r>
                  <a:rPr lang="en-US" b="1" u="sng" dirty="0"/>
                  <a:t>Slot Liner and Funnel Positioning Platforms</a:t>
                </a:r>
                <a:endParaRPr lang="en-IN" b="1" u="sng" dirty="0" err="1"/>
              </a:p>
            </p:txBody>
          </p:sp>
          <p:sp>
            <p:nvSpPr>
              <p:cNvPr id="43" name="TextBox 42">
                <a:extLst>
                  <a:ext uri="{FF2B5EF4-FFF2-40B4-BE49-F238E27FC236}">
                    <a16:creationId xmlns:a16="http://schemas.microsoft.com/office/drawing/2014/main" id="{21E5C033-37E8-DCFE-9551-00EC77DFD86C}"/>
                  </a:ext>
                </a:extLst>
              </p:cNvPr>
              <p:cNvSpPr txBox="1"/>
              <p:nvPr/>
            </p:nvSpPr>
            <p:spPr>
              <a:xfrm>
                <a:off x="2903132" y="3917408"/>
                <a:ext cx="4155182" cy="1798191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noAutofit/>
              </a:bodyPr>
              <a:lstStyle/>
              <a:p>
                <a:pPr>
                  <a:buClr>
                    <a:srgbClr val="97C139"/>
                  </a:buClr>
                </a:pPr>
                <a:r>
                  <a:rPr lang="en-US" dirty="0"/>
                  <a:t>1). Secure, repeatable positioning for insertion tool and slot liners </a:t>
                </a:r>
                <a:br>
                  <a:rPr lang="en-US" dirty="0"/>
                </a:br>
                <a:br>
                  <a:rPr lang="en-US" dirty="0"/>
                </a:br>
                <a:r>
                  <a:rPr lang="en-US" dirty="0"/>
                  <a:t>2). Quickly accommodates different funnel or slot liner geometries with minimal downtime.</a:t>
                </a:r>
                <a:br>
                  <a:rPr lang="en-US" dirty="0"/>
                </a:br>
                <a:br>
                  <a:rPr lang="en-US" dirty="0"/>
                </a:br>
                <a:r>
                  <a:rPr lang="en-US" dirty="0"/>
                  <a:t>3). Ensures accurate robot grasping, reducing misalignment and improving repeatability.</a:t>
                </a:r>
                <a:br>
                  <a:rPr lang="en-US" dirty="0"/>
                </a:br>
                <a:br>
                  <a:rPr lang="en-US" dirty="0"/>
                </a:br>
                <a:r>
                  <a:rPr lang="en-US" dirty="0"/>
                  <a:t>4). Enhances workflow efficiency in small-batch or high-mix production while maintaining precision.</a:t>
                </a:r>
                <a:br>
                  <a:rPr lang="en-US" dirty="0"/>
                </a:br>
                <a:endParaRPr lang="en-IN" dirty="0" err="1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73825464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13C6E998-26B2-CD00-4362-CAD778D2860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n-US" dirty="0">
                <a:solidFill>
                  <a:srgbClr val="000000"/>
                </a:solidFill>
              </a:rPr>
              <a:t>12.11.2025</a:t>
            </a:r>
          </a:p>
          <a:p>
            <a:pPr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9B1C122-AE76-8C3B-E8A7-CDBE45B4D39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FE11F066-C7D3-4B2D-BC7E-EC0D86AF6BBF}" type="slidenum">
              <a:rPr lang="de-DE" smtClean="0">
                <a:solidFill>
                  <a:srgbClr val="000000"/>
                </a:solidFill>
              </a:rPr>
              <a:pPr>
                <a:defRPr/>
              </a:pPr>
              <a:t>12</a:t>
            </a:fld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0727B32C-2FC4-0DC8-A29E-D0E4FA9D2E6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ree key parameters for the parametric funnel were chosen to allow adaptation to different stator geometries.</a:t>
            </a:r>
            <a:endParaRPr lang="en-IN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02FC13D-6B44-2C1B-16F9-828571227BD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defRPr/>
            </a:pPr>
            <a:r>
              <a:rPr lang="de-DE" dirty="0">
                <a:solidFill>
                  <a:srgbClr val="000000"/>
                </a:solidFill>
              </a:rPr>
              <a:t>Alen Sebastian – Development of a Parametric tool for Automated Slot Insulation Insertion in Small scale Electric Stator Production</a:t>
            </a:r>
          </a:p>
          <a:p>
            <a:pPr>
              <a:defRPr/>
            </a:pPr>
            <a:endParaRPr lang="de-DE" dirty="0">
              <a:solidFill>
                <a:srgbClr val="000000"/>
              </a:solidFill>
            </a:endParaRPr>
          </a:p>
        </p:txBody>
      </p:sp>
      <p:pic>
        <p:nvPicPr>
          <p:cNvPr id="9" name="Picture 8" descr="Close-up of a metal piece&#10;&#10;AI-generated content may be incorrect.">
            <a:extLst>
              <a:ext uri="{FF2B5EF4-FFF2-40B4-BE49-F238E27FC236}">
                <a16:creationId xmlns:a16="http://schemas.microsoft.com/office/drawing/2014/main" id="{BCDB16A0-1114-8DC1-E7EC-3090BACD767C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t="33972"/>
          <a:stretch>
            <a:fillRect/>
          </a:stretch>
        </p:blipFill>
        <p:spPr>
          <a:xfrm>
            <a:off x="7027027" y="1397530"/>
            <a:ext cx="3816424" cy="3631472"/>
          </a:xfrm>
          <a:prstGeom prst="rect">
            <a:avLst/>
          </a:prstGeom>
        </p:spPr>
      </p:pic>
      <p:grpSp>
        <p:nvGrpSpPr>
          <p:cNvPr id="49" name="Group 48">
            <a:extLst>
              <a:ext uri="{FF2B5EF4-FFF2-40B4-BE49-F238E27FC236}">
                <a16:creationId xmlns:a16="http://schemas.microsoft.com/office/drawing/2014/main" id="{BE50DB3C-EB62-34AC-A1A6-D623D517849D}"/>
              </a:ext>
            </a:extLst>
          </p:cNvPr>
          <p:cNvGrpSpPr/>
          <p:nvPr/>
        </p:nvGrpSpPr>
        <p:grpSpPr>
          <a:xfrm>
            <a:off x="551384" y="982113"/>
            <a:ext cx="5845299" cy="4462305"/>
            <a:chOff x="5991388" y="1058040"/>
            <a:chExt cx="5845299" cy="4797360"/>
          </a:xfrm>
        </p:grpSpPr>
        <p:pic>
          <p:nvPicPr>
            <p:cNvPr id="15" name="Picture 14" descr="A white object with a black outline&#10;&#10;AI-generated content may be incorrect.">
              <a:extLst>
                <a:ext uri="{FF2B5EF4-FFF2-40B4-BE49-F238E27FC236}">
                  <a16:creationId xmlns:a16="http://schemas.microsoft.com/office/drawing/2014/main" id="{CCAC55BF-38C2-2119-9637-E1BFE686853E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7680176" y="1058040"/>
              <a:ext cx="2715004" cy="4058216"/>
            </a:xfrm>
            <a:prstGeom prst="rect">
              <a:avLst/>
            </a:prstGeom>
          </p:spPr>
        </p:pic>
        <p:grpSp>
          <p:nvGrpSpPr>
            <p:cNvPr id="48" name="Group 47">
              <a:extLst>
                <a:ext uri="{FF2B5EF4-FFF2-40B4-BE49-F238E27FC236}">
                  <a16:creationId xmlns:a16="http://schemas.microsoft.com/office/drawing/2014/main" id="{761C578D-F812-B8D2-6190-3847DA2318FE}"/>
                </a:ext>
              </a:extLst>
            </p:cNvPr>
            <p:cNvGrpSpPr/>
            <p:nvPr/>
          </p:nvGrpSpPr>
          <p:grpSpPr>
            <a:xfrm>
              <a:off x="5991388" y="2276872"/>
              <a:ext cx="5845299" cy="3578528"/>
              <a:chOff x="5991388" y="2276872"/>
              <a:chExt cx="5845299" cy="3578528"/>
            </a:xfrm>
          </p:grpSpPr>
          <p:sp>
            <p:nvSpPr>
              <p:cNvPr id="22" name="Rectangle 21">
                <a:extLst>
                  <a:ext uri="{FF2B5EF4-FFF2-40B4-BE49-F238E27FC236}">
                    <a16:creationId xmlns:a16="http://schemas.microsoft.com/office/drawing/2014/main" id="{9C0D180B-22BD-0049-862D-7F1FDAD7FCC4}"/>
                  </a:ext>
                </a:extLst>
              </p:cNvPr>
              <p:cNvSpPr/>
              <p:nvPr/>
            </p:nvSpPr>
            <p:spPr>
              <a:xfrm>
                <a:off x="8544272" y="5386600"/>
                <a:ext cx="1041030" cy="404724"/>
              </a:xfrm>
              <a:prstGeom prst="rect">
                <a:avLst/>
              </a:prstGeom>
              <a:solidFill>
                <a:srgbClr val="C5DE8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0000" tIns="46800" rIns="90000" bIns="468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ts val="600"/>
                  </a:spcBef>
                </a:pPr>
                <a:endParaRPr lang="en-IN" dirty="0" err="1">
                  <a:solidFill>
                    <a:schemeClr val="tx1"/>
                  </a:solidFill>
                </a:endParaRPr>
              </a:p>
            </p:txBody>
          </p:sp>
          <p:cxnSp>
            <p:nvCxnSpPr>
              <p:cNvPr id="17" name="Straight Connector 16">
                <a:extLst>
                  <a:ext uri="{FF2B5EF4-FFF2-40B4-BE49-F238E27FC236}">
                    <a16:creationId xmlns:a16="http://schemas.microsoft.com/office/drawing/2014/main" id="{D4B60EA1-8F6E-8522-EDE9-7A1C15292FD8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8544272" y="4698859"/>
                <a:ext cx="0" cy="662051"/>
              </a:xfrm>
              <a:prstGeom prst="line">
                <a:avLst/>
              </a:prstGeom>
              <a:ln/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9" name="Straight Connector 18">
                <a:extLst>
                  <a:ext uri="{FF2B5EF4-FFF2-40B4-BE49-F238E27FC236}">
                    <a16:creationId xmlns:a16="http://schemas.microsoft.com/office/drawing/2014/main" id="{E31C9EE9-260B-1124-741D-A1619BCE0BDA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9552384" y="4698860"/>
                <a:ext cx="0" cy="662050"/>
              </a:xfrm>
              <a:prstGeom prst="line">
                <a:avLst/>
              </a:prstGeom>
              <a:ln/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sp>
            <p:nvSpPr>
              <p:cNvPr id="21" name="TextBox 20">
                <a:extLst>
                  <a:ext uri="{FF2B5EF4-FFF2-40B4-BE49-F238E27FC236}">
                    <a16:creationId xmlns:a16="http://schemas.microsoft.com/office/drawing/2014/main" id="{AF754D29-FF0A-4428-3092-440F0B42F5CB}"/>
                  </a:ext>
                </a:extLst>
              </p:cNvPr>
              <p:cNvSpPr txBox="1"/>
              <p:nvPr/>
            </p:nvSpPr>
            <p:spPr>
              <a:xfrm>
                <a:off x="8576265" y="5455980"/>
                <a:ext cx="1009037" cy="39942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noAutofit/>
              </a:bodyPr>
              <a:lstStyle/>
              <a:p>
                <a:pPr>
                  <a:buClr>
                    <a:srgbClr val="97C139"/>
                  </a:buClr>
                </a:pPr>
                <a:r>
                  <a:rPr lang="en-US" sz="1600" b="1" dirty="0"/>
                  <a:t>Slot Width</a:t>
                </a:r>
                <a:endParaRPr lang="en-IN" sz="1600" b="1" dirty="0" err="1"/>
              </a:p>
            </p:txBody>
          </p:sp>
          <p:cxnSp>
            <p:nvCxnSpPr>
              <p:cNvPr id="24" name="Straight Connector 23">
                <a:extLst>
                  <a:ext uri="{FF2B5EF4-FFF2-40B4-BE49-F238E27FC236}">
                    <a16:creationId xmlns:a16="http://schemas.microsoft.com/office/drawing/2014/main" id="{9FD30424-ACF4-CBA6-5555-90B17FEA3EA9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9336360" y="2276872"/>
                <a:ext cx="1806627" cy="0"/>
              </a:xfrm>
              <a:prstGeom prst="line">
                <a:avLst/>
              </a:prstGeom>
              <a:ln/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29" name="Straight Connector 28">
                <a:extLst>
                  <a:ext uri="{FF2B5EF4-FFF2-40B4-BE49-F238E27FC236}">
                    <a16:creationId xmlns:a16="http://schemas.microsoft.com/office/drawing/2014/main" id="{DF1E02EC-0A39-7FAD-302F-21A6A9A210FE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9480376" y="4698859"/>
                <a:ext cx="1662611" cy="0"/>
              </a:xfrm>
              <a:prstGeom prst="line">
                <a:avLst/>
              </a:prstGeom>
              <a:ln w="19050">
                <a:solidFill>
                  <a:srgbClr val="95A2AB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4" name="Straight Connector 33">
                <a:extLst>
                  <a:ext uri="{FF2B5EF4-FFF2-40B4-BE49-F238E27FC236}">
                    <a16:creationId xmlns:a16="http://schemas.microsoft.com/office/drawing/2014/main" id="{86FACC8D-85C0-A58C-652C-F895739912EF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1142987" y="2276872"/>
                <a:ext cx="0" cy="1008112"/>
              </a:xfrm>
              <a:prstGeom prst="line">
                <a:avLst/>
              </a:prstGeom>
              <a:ln w="19050">
                <a:solidFill>
                  <a:srgbClr val="95A2AB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" name="Straight Connector 36">
                <a:extLst>
                  <a:ext uri="{FF2B5EF4-FFF2-40B4-BE49-F238E27FC236}">
                    <a16:creationId xmlns:a16="http://schemas.microsoft.com/office/drawing/2014/main" id="{AEABEC35-90D4-81E4-F7D8-F988EF1EFEA3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11152613" y="3747393"/>
                <a:ext cx="0" cy="951466"/>
              </a:xfrm>
              <a:prstGeom prst="line">
                <a:avLst/>
              </a:prstGeom>
              <a:ln w="19050">
                <a:solidFill>
                  <a:srgbClr val="95A2AB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41" name="Rectangle 40">
                <a:extLst>
                  <a:ext uri="{FF2B5EF4-FFF2-40B4-BE49-F238E27FC236}">
                    <a16:creationId xmlns:a16="http://schemas.microsoft.com/office/drawing/2014/main" id="{11EF5E76-141C-88E5-B44B-152C59275594}"/>
                  </a:ext>
                </a:extLst>
              </p:cNvPr>
              <p:cNvSpPr/>
              <p:nvPr/>
            </p:nvSpPr>
            <p:spPr>
              <a:xfrm>
                <a:off x="10468539" y="3284984"/>
                <a:ext cx="1368148" cy="432147"/>
              </a:xfrm>
              <a:prstGeom prst="rect">
                <a:avLst/>
              </a:prstGeom>
              <a:solidFill>
                <a:srgbClr val="C5DE8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0000" tIns="46800" rIns="90000" bIns="468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ts val="600"/>
                  </a:spcBef>
                </a:pPr>
                <a:r>
                  <a:rPr lang="en-US" sz="1600" b="1" dirty="0">
                    <a:solidFill>
                      <a:schemeClr val="tx1"/>
                    </a:solidFill>
                  </a:rPr>
                  <a:t>Slot Height</a:t>
                </a:r>
                <a:endParaRPr lang="en-IN" sz="1600" b="1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42" name="Block Arc 41">
                <a:extLst>
                  <a:ext uri="{FF2B5EF4-FFF2-40B4-BE49-F238E27FC236}">
                    <a16:creationId xmlns:a16="http://schemas.microsoft.com/office/drawing/2014/main" id="{A1829569-415E-F843-4C33-5549A76AB2E6}"/>
                  </a:ext>
                </a:extLst>
              </p:cNvPr>
              <p:cNvSpPr/>
              <p:nvPr/>
            </p:nvSpPr>
            <p:spPr>
              <a:xfrm rot="3119948">
                <a:off x="8458501" y="4523271"/>
                <a:ext cx="350111" cy="104553"/>
              </a:xfrm>
              <a:prstGeom prst="blockArc">
                <a:avLst/>
              </a:prstGeom>
              <a:solidFill>
                <a:schemeClr val="tx1">
                  <a:lumMod val="50000"/>
                  <a:lumOff val="5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0000" tIns="46800" rIns="90000" bIns="468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ts val="600"/>
                  </a:spcBef>
                </a:pPr>
                <a:endParaRPr lang="en-IN" dirty="0" err="1">
                  <a:solidFill>
                    <a:schemeClr val="tx1">
                      <a:lumMod val="65000"/>
                      <a:lumOff val="35000"/>
                    </a:schemeClr>
                  </a:solidFill>
                </a:endParaRPr>
              </a:p>
            </p:txBody>
          </p:sp>
          <p:cxnSp>
            <p:nvCxnSpPr>
              <p:cNvPr id="44" name="Straight Connector 43">
                <a:extLst>
                  <a:ext uri="{FF2B5EF4-FFF2-40B4-BE49-F238E27FC236}">
                    <a16:creationId xmlns:a16="http://schemas.microsoft.com/office/drawing/2014/main" id="{14AA4EC9-83CC-693B-214F-592D0B8DC0BE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7248128" y="4555406"/>
                <a:ext cx="1333302" cy="9668"/>
              </a:xfrm>
              <a:prstGeom prst="line">
                <a:avLst/>
              </a:prstGeom>
              <a:ln/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sp>
            <p:nvSpPr>
              <p:cNvPr id="47" name="Rectangle 46">
                <a:extLst>
                  <a:ext uri="{FF2B5EF4-FFF2-40B4-BE49-F238E27FC236}">
                    <a16:creationId xmlns:a16="http://schemas.microsoft.com/office/drawing/2014/main" id="{B81B7F69-EAF8-F118-A4B0-5D3C7E8ED5A0}"/>
                  </a:ext>
                </a:extLst>
              </p:cNvPr>
              <p:cNvSpPr/>
              <p:nvPr/>
            </p:nvSpPr>
            <p:spPr>
              <a:xfrm>
                <a:off x="5991388" y="4344517"/>
                <a:ext cx="1256740" cy="441113"/>
              </a:xfrm>
              <a:prstGeom prst="rect">
                <a:avLst/>
              </a:prstGeom>
              <a:solidFill>
                <a:srgbClr val="C5DE8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0000" tIns="46800" rIns="90000" bIns="468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ts val="600"/>
                  </a:spcBef>
                </a:pPr>
                <a:r>
                  <a:rPr lang="en-US" sz="1600" b="1" dirty="0">
                    <a:solidFill>
                      <a:schemeClr val="tx1"/>
                    </a:solidFill>
                  </a:rPr>
                  <a:t>Slot Angle</a:t>
                </a:r>
                <a:endParaRPr lang="en-IN" sz="1600" b="1" dirty="0" err="1">
                  <a:solidFill>
                    <a:schemeClr val="tx1"/>
                  </a:solidFill>
                </a:endParaRPr>
              </a:p>
            </p:txBody>
          </p:sp>
        </p:grpSp>
      </p:grpSp>
      <p:sp>
        <p:nvSpPr>
          <p:cNvPr id="6" name="TextBox 5">
            <a:extLst>
              <a:ext uri="{FF2B5EF4-FFF2-40B4-BE49-F238E27FC236}">
                <a16:creationId xmlns:a16="http://schemas.microsoft.com/office/drawing/2014/main" id="{44569F12-5DBC-39C6-15D7-5D8F20808F25}"/>
              </a:ext>
            </a:extLst>
          </p:cNvPr>
          <p:cNvSpPr txBox="1"/>
          <p:nvPr/>
        </p:nvSpPr>
        <p:spPr>
          <a:xfrm>
            <a:off x="2960065" y="5698342"/>
            <a:ext cx="1839604" cy="29636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buClr>
                <a:srgbClr val="97C139"/>
              </a:buClr>
            </a:pPr>
            <a:r>
              <a:rPr lang="en-US" dirty="0"/>
              <a:t>a) tool parameters</a:t>
            </a:r>
            <a:endParaRPr lang="en-IN" dirty="0" err="1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5DCC554F-D19D-217C-F698-3E078F8C63D9}"/>
              </a:ext>
            </a:extLst>
          </p:cNvPr>
          <p:cNvSpPr txBox="1"/>
          <p:nvPr/>
        </p:nvSpPr>
        <p:spPr>
          <a:xfrm>
            <a:off x="7903204" y="5698342"/>
            <a:ext cx="2081227" cy="29636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buClr>
                <a:srgbClr val="97C139"/>
              </a:buClr>
            </a:pPr>
            <a:r>
              <a:rPr lang="en-US" dirty="0"/>
              <a:t>b) Actual slot in a stator</a:t>
            </a:r>
            <a:endParaRPr lang="en-IN" dirty="0" err="1"/>
          </a:p>
        </p:txBody>
      </p:sp>
    </p:spTree>
    <p:extLst>
      <p:ext uri="{BB962C8B-B14F-4D97-AF65-F5344CB8AC3E}">
        <p14:creationId xmlns:p14="http://schemas.microsoft.com/office/powerpoint/2010/main" val="135602871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797F26B0-55AC-112A-8C8B-4457D5A3007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n-US" dirty="0">
                <a:solidFill>
                  <a:srgbClr val="000000"/>
                </a:solidFill>
              </a:rPr>
              <a:t>12.11.2025</a:t>
            </a:r>
          </a:p>
          <a:p>
            <a:pPr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CCD9E08-1FE5-9424-D17B-C461D03AB70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FE11F066-C7D3-4B2D-BC7E-EC0D86AF6BBF}" type="slidenum">
              <a:rPr lang="de-DE" smtClean="0">
                <a:solidFill>
                  <a:srgbClr val="000000"/>
                </a:solidFill>
              </a:rPr>
              <a:pPr>
                <a:defRPr/>
              </a:pPr>
              <a:t>13</a:t>
            </a:fld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E2A91BB-6A33-25AF-3C86-7E636F2C873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funnel design incorporates several key features and design considerations aimed at ensuring optimal alignment, stability, and compatibility with stators of varying geometries.</a:t>
            </a:r>
            <a:endParaRPr lang="en-IN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BC2ED4F-F9DD-9762-C410-9AEA05105A1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defRPr/>
            </a:pPr>
            <a:r>
              <a:rPr lang="de-DE" dirty="0">
                <a:solidFill>
                  <a:srgbClr val="000000"/>
                </a:solidFill>
              </a:rPr>
              <a:t>Alen Sebastian – Development of a Parametric tool for Automated Slot Insulation Insertion in Small scale Electric Stator Production</a:t>
            </a:r>
          </a:p>
          <a:p>
            <a:pPr>
              <a:defRPr/>
            </a:pPr>
            <a:endParaRPr lang="de-DE" dirty="0">
              <a:solidFill>
                <a:srgbClr val="000000"/>
              </a:solidFill>
            </a:endParaRP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9D191A09-8077-D49C-8877-6D223848F99F}"/>
              </a:ext>
            </a:extLst>
          </p:cNvPr>
          <p:cNvGrpSpPr/>
          <p:nvPr/>
        </p:nvGrpSpPr>
        <p:grpSpPr>
          <a:xfrm>
            <a:off x="674293" y="1553886"/>
            <a:ext cx="5038575" cy="4389937"/>
            <a:chOff x="3499176" y="1052242"/>
            <a:chExt cx="5038575" cy="4389937"/>
          </a:xfrm>
        </p:grpSpPr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9D2086E9-C913-1A7A-13F5-BA562B94E083}"/>
                </a:ext>
              </a:extLst>
            </p:cNvPr>
            <p:cNvGrpSpPr/>
            <p:nvPr/>
          </p:nvGrpSpPr>
          <p:grpSpPr>
            <a:xfrm>
              <a:off x="3557603" y="1052242"/>
              <a:ext cx="1701499" cy="1527277"/>
              <a:chOff x="270499" y="-32787"/>
              <a:chExt cx="1898650" cy="1906793"/>
            </a:xfrm>
          </p:grpSpPr>
          <p:pic>
            <p:nvPicPr>
              <p:cNvPr id="22" name="Picture 21" descr="A white object with a curved section&#10;&#10;AI-generated content may be incorrect.">
                <a:extLst>
                  <a:ext uri="{FF2B5EF4-FFF2-40B4-BE49-F238E27FC236}">
                    <a16:creationId xmlns:a16="http://schemas.microsoft.com/office/drawing/2014/main" id="{51C65056-BD67-8241-3097-2DDB99BA20CA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4255" t="2954" r="4864"/>
              <a:stretch>
                <a:fillRect/>
              </a:stretch>
            </p:blipFill>
            <p:spPr bwMode="auto">
              <a:xfrm>
                <a:off x="270499" y="-32787"/>
                <a:ext cx="1898650" cy="1460500"/>
              </a:xfrm>
              <a:prstGeom prst="rect">
                <a:avLst/>
              </a:prstGeom>
              <a:ln>
                <a:noFill/>
              </a:ln>
              <a:extLst>
                <a:ext uri="{53640926-AAD7-44D8-BBD7-CCE9431645EC}">
                  <a14:shadowObscured xmlns:a14="http://schemas.microsoft.com/office/drawing/2010/main"/>
                </a:ext>
              </a:extLst>
            </p:spPr>
          </p:pic>
          <p:sp>
            <p:nvSpPr>
              <p:cNvPr id="23" name="Text Box 2">
                <a:extLst>
                  <a:ext uri="{FF2B5EF4-FFF2-40B4-BE49-F238E27FC236}">
                    <a16:creationId xmlns:a16="http://schemas.microsoft.com/office/drawing/2014/main" id="{FFCEC5C0-F9E5-080C-A615-054CE860CAEF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568051" y="1487291"/>
                <a:ext cx="1275213" cy="386715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rot="0" vert="horz" wrap="square" lIns="91440" tIns="45720" rIns="91440" bIns="45720" anchor="t" anchorCtr="0">
                <a:noAutofit/>
              </a:bodyPr>
              <a:lstStyle/>
              <a:p>
                <a:pPr algn="just">
                  <a:lnSpc>
                    <a:spcPct val="120000"/>
                  </a:lnSpc>
                  <a:spcBef>
                    <a:spcPts val="300"/>
                  </a:spcBef>
                  <a:spcAft>
                    <a:spcPts val="300"/>
                  </a:spcAft>
                  <a:buNone/>
                </a:pPr>
                <a:r>
                  <a:rPr lang="en-US" sz="1200">
                    <a:effectLst/>
                    <a:latin typeface="Arial" panose="020B0604020202020204" pitchFamily="34" charset="0"/>
                    <a:ea typeface="Times New Roman" panose="02020603050405020304" pitchFamily="18" charset="0"/>
                    <a:cs typeface="Times New Roman" panose="02020603050405020304" pitchFamily="18" charset="0"/>
                  </a:rPr>
                  <a:t>a) Front view</a:t>
                </a:r>
                <a:endParaRPr lang="en-IN" sz="1200">
                  <a:effectLst/>
                  <a:latin typeface="Arial" panose="020B0604020202020204" pitchFamily="34" charset="0"/>
                  <a:ea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</p:grpSp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id="{EFB1AE47-30F2-B200-7AA7-C8ECD8C57C69}"/>
                </a:ext>
              </a:extLst>
            </p:cNvPr>
            <p:cNvGrpSpPr/>
            <p:nvPr/>
          </p:nvGrpSpPr>
          <p:grpSpPr>
            <a:xfrm>
              <a:off x="6661659" y="1079128"/>
              <a:ext cx="1657056" cy="1568729"/>
              <a:chOff x="0" y="0"/>
              <a:chExt cx="1911350" cy="2030412"/>
            </a:xfrm>
          </p:grpSpPr>
          <p:pic>
            <p:nvPicPr>
              <p:cNvPr id="20" name="Picture 19" descr="A white object with a zipper&#10;&#10;AI-generated content may be incorrect.">
                <a:extLst>
                  <a:ext uri="{FF2B5EF4-FFF2-40B4-BE49-F238E27FC236}">
                    <a16:creationId xmlns:a16="http://schemas.microsoft.com/office/drawing/2014/main" id="{E5142808-649E-814F-7BA1-F282F9749AFA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5794" r="3925"/>
              <a:stretch>
                <a:fillRect/>
              </a:stretch>
            </p:blipFill>
            <p:spPr bwMode="auto">
              <a:xfrm>
                <a:off x="0" y="0"/>
                <a:ext cx="1911350" cy="1581151"/>
              </a:xfrm>
              <a:prstGeom prst="rect">
                <a:avLst/>
              </a:prstGeom>
              <a:ln>
                <a:noFill/>
              </a:ln>
              <a:extLst>
                <a:ext uri="{53640926-AAD7-44D8-BBD7-CCE9431645EC}">
                  <a14:shadowObscured xmlns:a14="http://schemas.microsoft.com/office/drawing/2010/main"/>
                </a:ext>
              </a:extLst>
            </p:spPr>
          </p:pic>
          <p:sp>
            <p:nvSpPr>
              <p:cNvPr id="21" name="Text Box 2">
                <a:extLst>
                  <a:ext uri="{FF2B5EF4-FFF2-40B4-BE49-F238E27FC236}">
                    <a16:creationId xmlns:a16="http://schemas.microsoft.com/office/drawing/2014/main" id="{C15FA9EE-A193-E20E-628F-E9316F7D3F0B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344189" y="1643696"/>
                <a:ext cx="1307273" cy="386716"/>
              </a:xfrm>
              <a:prstGeom prst="rect">
                <a:avLst/>
              </a:prstGeom>
              <a:solidFill>
                <a:srgbClr val="FFFFFF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rot="0" vert="horz" wrap="square" lIns="91440" tIns="45720" rIns="91440" bIns="45720" anchor="t" anchorCtr="0">
                <a:noAutofit/>
              </a:bodyPr>
              <a:lstStyle/>
              <a:p>
                <a:pPr algn="just">
                  <a:lnSpc>
                    <a:spcPct val="120000"/>
                  </a:lnSpc>
                  <a:spcBef>
                    <a:spcPts val="300"/>
                  </a:spcBef>
                  <a:spcAft>
                    <a:spcPts val="300"/>
                  </a:spcAft>
                  <a:buNone/>
                </a:pPr>
                <a:r>
                  <a:rPr lang="en-US" sz="1200">
                    <a:effectLst/>
                    <a:latin typeface="Arial" panose="020B0604020202020204" pitchFamily="34" charset="0"/>
                    <a:ea typeface="Times New Roman" panose="02020603050405020304" pitchFamily="18" charset="0"/>
                    <a:cs typeface="Times New Roman" panose="02020603050405020304" pitchFamily="18" charset="0"/>
                  </a:rPr>
                  <a:t>b) Rear view</a:t>
                </a:r>
                <a:endParaRPr lang="en-IN" sz="1200">
                  <a:effectLst/>
                  <a:latin typeface="Arial" panose="020B0604020202020204" pitchFamily="34" charset="0"/>
                  <a:ea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</p:grpSp>
        <p:grpSp>
          <p:nvGrpSpPr>
            <p:cNvPr id="11" name="Group 10">
              <a:extLst>
                <a:ext uri="{FF2B5EF4-FFF2-40B4-BE49-F238E27FC236}">
                  <a16:creationId xmlns:a16="http://schemas.microsoft.com/office/drawing/2014/main" id="{1970E221-2131-9291-4BE3-96981073C1D1}"/>
                </a:ext>
              </a:extLst>
            </p:cNvPr>
            <p:cNvGrpSpPr/>
            <p:nvPr/>
          </p:nvGrpSpPr>
          <p:grpSpPr>
            <a:xfrm>
              <a:off x="5312795" y="1107869"/>
              <a:ext cx="1295171" cy="2604666"/>
              <a:chOff x="133366" y="-61479"/>
              <a:chExt cx="1295400" cy="2931045"/>
            </a:xfrm>
          </p:grpSpPr>
          <p:pic>
            <p:nvPicPr>
              <p:cNvPr id="18" name="Picture 17" descr="A white rectangular object with black lines&#10;&#10;AI-generated content may be incorrect.">
                <a:extLst>
                  <a:ext uri="{FF2B5EF4-FFF2-40B4-BE49-F238E27FC236}">
                    <a16:creationId xmlns:a16="http://schemas.microsoft.com/office/drawing/2014/main" id="{A8D75E44-8F94-A576-5982-32848275BD2D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4068" r="2712"/>
              <a:stretch>
                <a:fillRect/>
              </a:stretch>
            </p:blipFill>
            <p:spPr bwMode="auto">
              <a:xfrm>
                <a:off x="133366" y="-61479"/>
                <a:ext cx="1295400" cy="2432050"/>
              </a:xfrm>
              <a:prstGeom prst="rect">
                <a:avLst/>
              </a:prstGeom>
              <a:ln>
                <a:noFill/>
              </a:ln>
              <a:extLst>
                <a:ext uri="{53640926-AAD7-44D8-BBD7-CCE9431645EC}">
                  <a14:shadowObscured xmlns:a14="http://schemas.microsoft.com/office/drawing/2010/main"/>
                </a:ext>
              </a:extLst>
            </p:spPr>
          </p:pic>
          <p:sp>
            <p:nvSpPr>
              <p:cNvPr id="19" name="Text Box 2">
                <a:extLst>
                  <a:ext uri="{FF2B5EF4-FFF2-40B4-BE49-F238E27FC236}">
                    <a16:creationId xmlns:a16="http://schemas.microsoft.com/office/drawing/2014/main" id="{399F3748-58C7-E3B1-AAEA-FF07166FBEAE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268876" y="2482851"/>
                <a:ext cx="965200" cy="386715"/>
              </a:xfrm>
              <a:prstGeom prst="rect">
                <a:avLst/>
              </a:prstGeom>
              <a:solidFill>
                <a:srgbClr val="FFFFFF"/>
              </a:solidFill>
              <a:ln w="9525">
                <a:solidFill>
                  <a:schemeClr val="bg1"/>
                </a:solidFill>
                <a:miter lim="800000"/>
                <a:headEnd/>
                <a:tailEnd/>
              </a:ln>
            </p:spPr>
            <p:txBody>
              <a:bodyPr rot="0" vert="horz" wrap="square" lIns="91440" tIns="45720" rIns="91440" bIns="45720" anchor="t" anchorCtr="0">
                <a:noAutofit/>
              </a:bodyPr>
              <a:lstStyle/>
              <a:p>
                <a:pPr algn="just">
                  <a:lnSpc>
                    <a:spcPct val="120000"/>
                  </a:lnSpc>
                  <a:spcBef>
                    <a:spcPts val="300"/>
                  </a:spcBef>
                  <a:spcAft>
                    <a:spcPts val="300"/>
                  </a:spcAft>
                  <a:buNone/>
                </a:pPr>
                <a:r>
                  <a:rPr lang="en-US" sz="1200">
                    <a:effectLst/>
                    <a:latin typeface="Arial" panose="020B0604020202020204" pitchFamily="34" charset="0"/>
                    <a:ea typeface="Times New Roman" panose="02020603050405020304" pitchFamily="18" charset="0"/>
                    <a:cs typeface="Times New Roman" panose="02020603050405020304" pitchFamily="18" charset="0"/>
                  </a:rPr>
                  <a:t>c) Top view</a:t>
                </a:r>
                <a:endParaRPr lang="en-IN" sz="1200">
                  <a:effectLst/>
                  <a:latin typeface="Arial" panose="020B0604020202020204" pitchFamily="34" charset="0"/>
                  <a:ea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</p:grpSp>
        <p:grpSp>
          <p:nvGrpSpPr>
            <p:cNvPr id="12" name="Group 11">
              <a:extLst>
                <a:ext uri="{FF2B5EF4-FFF2-40B4-BE49-F238E27FC236}">
                  <a16:creationId xmlns:a16="http://schemas.microsoft.com/office/drawing/2014/main" id="{A46E5ABD-6FA6-ED69-902A-CE87B234CE48}"/>
                </a:ext>
              </a:extLst>
            </p:cNvPr>
            <p:cNvGrpSpPr/>
            <p:nvPr/>
          </p:nvGrpSpPr>
          <p:grpSpPr>
            <a:xfrm>
              <a:off x="3499176" y="3742833"/>
              <a:ext cx="2431619" cy="1398065"/>
              <a:chOff x="390236" y="29552"/>
              <a:chExt cx="2432050" cy="1573250"/>
            </a:xfrm>
          </p:grpSpPr>
          <p:pic>
            <p:nvPicPr>
              <p:cNvPr id="16" name="Picture 15" descr="A white rectangular object with a white background&#10;&#10;AI-generated content may be incorrect.">
                <a:extLst>
                  <a:ext uri="{FF2B5EF4-FFF2-40B4-BE49-F238E27FC236}">
                    <a16:creationId xmlns:a16="http://schemas.microsoft.com/office/drawing/2014/main" id="{2269A3DD-C6BA-8693-4BFE-A72F1814DFE3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6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5292" t="3930"/>
              <a:stretch>
                <a:fillRect/>
              </a:stretch>
            </p:blipFill>
            <p:spPr bwMode="auto">
              <a:xfrm>
                <a:off x="390236" y="29552"/>
                <a:ext cx="2432050" cy="1022350"/>
              </a:xfrm>
              <a:prstGeom prst="rect">
                <a:avLst/>
              </a:prstGeom>
              <a:ln>
                <a:noFill/>
              </a:ln>
              <a:extLst>
                <a:ext uri="{53640926-AAD7-44D8-BBD7-CCE9431645EC}">
                  <a14:shadowObscured xmlns:a14="http://schemas.microsoft.com/office/drawing/2010/main"/>
                </a:ext>
              </a:extLst>
            </p:spPr>
          </p:pic>
          <p:sp>
            <p:nvSpPr>
              <p:cNvPr id="17" name="Text Box 2">
                <a:extLst>
                  <a:ext uri="{FF2B5EF4-FFF2-40B4-BE49-F238E27FC236}">
                    <a16:creationId xmlns:a16="http://schemas.microsoft.com/office/drawing/2014/main" id="{49FD4F38-CD95-685E-8DB5-2D6F8476BA52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422564" y="1216087"/>
                <a:ext cx="1073150" cy="386715"/>
              </a:xfrm>
              <a:prstGeom prst="rect">
                <a:avLst/>
              </a:prstGeom>
              <a:solidFill>
                <a:srgbClr val="FFFFFF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rot="0" vert="horz" wrap="square" lIns="91440" tIns="45720" rIns="91440" bIns="45720" anchor="t" anchorCtr="0">
                <a:noAutofit/>
              </a:bodyPr>
              <a:lstStyle/>
              <a:p>
                <a:pPr algn="just">
                  <a:lnSpc>
                    <a:spcPct val="120000"/>
                  </a:lnSpc>
                  <a:spcBef>
                    <a:spcPts val="300"/>
                  </a:spcBef>
                  <a:spcAft>
                    <a:spcPts val="300"/>
                  </a:spcAft>
                  <a:buNone/>
                </a:pPr>
                <a:r>
                  <a:rPr lang="en-US" sz="1200">
                    <a:effectLst/>
                    <a:latin typeface="Arial" panose="020B0604020202020204" pitchFamily="34" charset="0"/>
                    <a:ea typeface="Times New Roman" panose="02020603050405020304" pitchFamily="18" charset="0"/>
                    <a:cs typeface="Times New Roman" panose="02020603050405020304" pitchFamily="18" charset="0"/>
                  </a:rPr>
                  <a:t>d) Side view</a:t>
                </a:r>
                <a:endParaRPr lang="en-IN" sz="1200">
                  <a:effectLst/>
                  <a:latin typeface="Arial" panose="020B0604020202020204" pitchFamily="34" charset="0"/>
                  <a:ea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</p:grpSp>
        <p:grpSp>
          <p:nvGrpSpPr>
            <p:cNvPr id="13" name="Group 12">
              <a:extLst>
                <a:ext uri="{FF2B5EF4-FFF2-40B4-BE49-F238E27FC236}">
                  <a16:creationId xmlns:a16="http://schemas.microsoft.com/office/drawing/2014/main" id="{625F678F-C2C0-53EC-9B8F-814725A2B024}"/>
                </a:ext>
              </a:extLst>
            </p:cNvPr>
            <p:cNvGrpSpPr/>
            <p:nvPr/>
          </p:nvGrpSpPr>
          <p:grpSpPr>
            <a:xfrm>
              <a:off x="6442622" y="3317427"/>
              <a:ext cx="2095129" cy="2124752"/>
              <a:chOff x="41566" y="-339850"/>
              <a:chExt cx="2095500" cy="2390996"/>
            </a:xfrm>
          </p:grpSpPr>
          <p:pic>
            <p:nvPicPr>
              <p:cNvPr id="14" name="Picture 13" descr="A white box with a handle">
                <a:extLst>
                  <a:ext uri="{FF2B5EF4-FFF2-40B4-BE49-F238E27FC236}">
                    <a16:creationId xmlns:a16="http://schemas.microsoft.com/office/drawing/2014/main" id="{5C189384-6F99-6426-EE77-A1D5F994C521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11576" t="4564" r="3428" b="3770"/>
              <a:stretch>
                <a:fillRect/>
              </a:stretch>
            </p:blipFill>
            <p:spPr bwMode="auto">
              <a:xfrm>
                <a:off x="41566" y="-339850"/>
                <a:ext cx="2095500" cy="1879599"/>
              </a:xfrm>
              <a:prstGeom prst="rect">
                <a:avLst/>
              </a:prstGeom>
              <a:ln>
                <a:noFill/>
              </a:ln>
              <a:extLst>
                <a:ext uri="{53640926-AAD7-44D8-BBD7-CCE9431645EC}">
                  <a14:shadowObscured xmlns:a14="http://schemas.microsoft.com/office/drawing/2010/main"/>
                </a:ext>
              </a:extLst>
            </p:spPr>
          </p:pic>
          <p:sp>
            <p:nvSpPr>
              <p:cNvPr id="15" name="Text Box 2">
                <a:extLst>
                  <a:ext uri="{FF2B5EF4-FFF2-40B4-BE49-F238E27FC236}">
                    <a16:creationId xmlns:a16="http://schemas.microsoft.com/office/drawing/2014/main" id="{A724CF4A-7607-9BC6-F75C-E95C03A85835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147783" y="1664431"/>
                <a:ext cx="1333500" cy="386715"/>
              </a:xfrm>
              <a:prstGeom prst="rect">
                <a:avLst/>
              </a:prstGeom>
              <a:solidFill>
                <a:srgbClr val="FFFFFF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rot="0" vert="horz" wrap="square" lIns="91440" tIns="45720" rIns="91440" bIns="45720" anchor="t" anchorCtr="0">
                <a:noAutofit/>
              </a:bodyPr>
              <a:lstStyle/>
              <a:p>
                <a:pPr algn="just">
                  <a:lnSpc>
                    <a:spcPct val="120000"/>
                  </a:lnSpc>
                  <a:spcBef>
                    <a:spcPts val="300"/>
                  </a:spcBef>
                  <a:spcAft>
                    <a:spcPts val="300"/>
                  </a:spcAft>
                  <a:buNone/>
                </a:pPr>
                <a:r>
                  <a:rPr lang="en-US" sz="1200">
                    <a:effectLst/>
                    <a:latin typeface="Arial" panose="020B0604020202020204" pitchFamily="34" charset="0"/>
                    <a:ea typeface="Times New Roman" panose="02020603050405020304" pitchFamily="18" charset="0"/>
                    <a:cs typeface="Times New Roman" panose="02020603050405020304" pitchFamily="18" charset="0"/>
                  </a:rPr>
                  <a:t>e) Isometric view</a:t>
                </a:r>
                <a:endParaRPr lang="en-IN" sz="1200">
                  <a:effectLst/>
                  <a:latin typeface="Arial" panose="020B0604020202020204" pitchFamily="34" charset="0"/>
                  <a:ea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</p:grpSp>
      </p:grpSp>
      <p:grpSp>
        <p:nvGrpSpPr>
          <p:cNvPr id="44" name="Group 43">
            <a:extLst>
              <a:ext uri="{FF2B5EF4-FFF2-40B4-BE49-F238E27FC236}">
                <a16:creationId xmlns:a16="http://schemas.microsoft.com/office/drawing/2014/main" id="{B6CEC7AE-89C0-05F0-1CBF-CD6DBE04F5DC}"/>
              </a:ext>
            </a:extLst>
          </p:cNvPr>
          <p:cNvGrpSpPr/>
          <p:nvPr/>
        </p:nvGrpSpPr>
        <p:grpSpPr>
          <a:xfrm>
            <a:off x="2075901" y="690942"/>
            <a:ext cx="8930982" cy="5418667"/>
            <a:chOff x="2008646" y="575033"/>
            <a:chExt cx="8930982" cy="5418667"/>
          </a:xfrm>
        </p:grpSpPr>
        <p:grpSp>
          <p:nvGrpSpPr>
            <p:cNvPr id="26" name="Group 25">
              <a:extLst>
                <a:ext uri="{FF2B5EF4-FFF2-40B4-BE49-F238E27FC236}">
                  <a16:creationId xmlns:a16="http://schemas.microsoft.com/office/drawing/2014/main" id="{45E557CC-D626-AA84-9084-61B11141FE35}"/>
                </a:ext>
              </a:extLst>
            </p:cNvPr>
            <p:cNvGrpSpPr/>
            <p:nvPr/>
          </p:nvGrpSpPr>
          <p:grpSpPr>
            <a:xfrm>
              <a:off x="2008646" y="575033"/>
              <a:ext cx="8930982" cy="5418667"/>
              <a:chOff x="2745794" y="351186"/>
              <a:chExt cx="8930982" cy="5418667"/>
            </a:xfrm>
          </p:grpSpPr>
          <p:sp>
            <p:nvSpPr>
              <p:cNvPr id="28" name="Flowchart: Process 27">
                <a:extLst>
                  <a:ext uri="{FF2B5EF4-FFF2-40B4-BE49-F238E27FC236}">
                    <a16:creationId xmlns:a16="http://schemas.microsoft.com/office/drawing/2014/main" id="{3B493A69-D7FD-9400-5E83-F6DE604FC432}"/>
                  </a:ext>
                </a:extLst>
              </p:cNvPr>
              <p:cNvSpPr/>
              <p:nvPr/>
            </p:nvSpPr>
            <p:spPr>
              <a:xfrm>
                <a:off x="7320136" y="3264378"/>
                <a:ext cx="4356640" cy="799302"/>
              </a:xfrm>
              <a:prstGeom prst="flowChartProcess">
                <a:avLst/>
              </a:prstGeom>
              <a:solidFill>
                <a:srgbClr val="C5DE89"/>
              </a:solidFill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1">
                  <a:tint val="50000"/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accent1">
                  <a:tint val="50000"/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>
                  <a:hueOff val="0"/>
                  <a:satOff val="0"/>
                  <a:lumOff val="0"/>
                  <a:alphaOff val="0"/>
                </a:schemeClr>
              </a:fontRef>
            </p:style>
            <p:txBody>
              <a:bodyPr/>
              <a:lstStyle/>
              <a:p>
                <a:endParaRPr lang="en-IN" dirty="0"/>
              </a:p>
            </p:txBody>
          </p:sp>
          <p:grpSp>
            <p:nvGrpSpPr>
              <p:cNvPr id="29" name="Group 28">
                <a:extLst>
                  <a:ext uri="{FF2B5EF4-FFF2-40B4-BE49-F238E27FC236}">
                    <a16:creationId xmlns:a16="http://schemas.microsoft.com/office/drawing/2014/main" id="{7831BF71-C609-75BD-9E1D-EFDC3C81F301}"/>
                  </a:ext>
                </a:extLst>
              </p:cNvPr>
              <p:cNvGrpSpPr/>
              <p:nvPr/>
            </p:nvGrpSpPr>
            <p:grpSpPr>
              <a:xfrm>
                <a:off x="2745794" y="351186"/>
                <a:ext cx="8930982" cy="5418667"/>
                <a:chOff x="2131008" y="719666"/>
                <a:chExt cx="9697534" cy="5418667"/>
              </a:xfrm>
            </p:grpSpPr>
            <p:sp>
              <p:nvSpPr>
                <p:cNvPr id="30" name="Flowchart: Process 29">
                  <a:extLst>
                    <a:ext uri="{FF2B5EF4-FFF2-40B4-BE49-F238E27FC236}">
                      <a16:creationId xmlns:a16="http://schemas.microsoft.com/office/drawing/2014/main" id="{A81B166F-61F5-FDCF-BB91-53F427F7C7A1}"/>
                    </a:ext>
                  </a:extLst>
                </p:cNvPr>
                <p:cNvSpPr/>
                <p:nvPr/>
              </p:nvSpPr>
              <p:spPr>
                <a:xfrm>
                  <a:off x="6174659" y="4926599"/>
                  <a:ext cx="5653883" cy="799302"/>
                </a:xfrm>
                <a:prstGeom prst="flowChartProcess">
                  <a:avLst/>
                </a:prstGeom>
                <a:solidFill>
                  <a:srgbClr val="C5DE89"/>
                </a:solidFill>
              </p:spPr>
              <p:style>
                <a:lnRef idx="2">
                  <a:schemeClr val="lt1">
                    <a:hueOff val="0"/>
                    <a:satOff val="0"/>
                    <a:lumOff val="0"/>
                    <a:alphaOff val="0"/>
                  </a:schemeClr>
                </a:lnRef>
                <a:fillRef idx="1">
                  <a:schemeClr val="accent1">
                    <a:tint val="50000"/>
                    <a:hueOff val="0"/>
                    <a:satOff val="0"/>
                    <a:lumOff val="0"/>
                    <a:alphaOff val="0"/>
                  </a:schemeClr>
                </a:fillRef>
                <a:effectRef idx="0">
                  <a:schemeClr val="accent1">
                    <a:tint val="50000"/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lt1">
                    <a:hueOff val="0"/>
                    <a:satOff val="0"/>
                    <a:lumOff val="0"/>
                    <a:alphaOff val="0"/>
                  </a:schemeClr>
                </a:fontRef>
              </p:style>
              <p:txBody>
                <a:bodyPr/>
                <a:lstStyle/>
                <a:p>
                  <a:endParaRPr lang="en-IN" dirty="0"/>
                </a:p>
              </p:txBody>
            </p:sp>
            <p:sp>
              <p:nvSpPr>
                <p:cNvPr id="31" name="Flowchart: Process 30">
                  <a:extLst>
                    <a:ext uri="{FF2B5EF4-FFF2-40B4-BE49-F238E27FC236}">
                      <a16:creationId xmlns:a16="http://schemas.microsoft.com/office/drawing/2014/main" id="{18BE9940-7B09-C4F6-C7D1-437E2C43FC0F}"/>
                    </a:ext>
                  </a:extLst>
                </p:cNvPr>
                <p:cNvSpPr/>
                <p:nvPr/>
              </p:nvSpPr>
              <p:spPr>
                <a:xfrm>
                  <a:off x="7097968" y="2416761"/>
                  <a:ext cx="4730574" cy="799301"/>
                </a:xfrm>
                <a:prstGeom prst="flowChartProcess">
                  <a:avLst/>
                </a:prstGeom>
                <a:solidFill>
                  <a:srgbClr val="C5DE89"/>
                </a:solidFill>
              </p:spPr>
              <p:style>
                <a:lnRef idx="2">
                  <a:schemeClr val="lt1">
                    <a:hueOff val="0"/>
                    <a:satOff val="0"/>
                    <a:lumOff val="0"/>
                    <a:alphaOff val="0"/>
                  </a:schemeClr>
                </a:lnRef>
                <a:fillRef idx="1">
                  <a:schemeClr val="accent1">
                    <a:tint val="50000"/>
                    <a:hueOff val="0"/>
                    <a:satOff val="0"/>
                    <a:lumOff val="0"/>
                    <a:alphaOff val="0"/>
                  </a:schemeClr>
                </a:fillRef>
                <a:effectRef idx="0">
                  <a:schemeClr val="accent1">
                    <a:tint val="50000"/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lt1">
                    <a:hueOff val="0"/>
                    <a:satOff val="0"/>
                    <a:lumOff val="0"/>
                    <a:alphaOff val="0"/>
                  </a:schemeClr>
                </a:fontRef>
              </p:style>
              <p:txBody>
                <a:bodyPr/>
                <a:lstStyle/>
                <a:p>
                  <a:endParaRPr lang="en-IN" dirty="0"/>
                </a:p>
              </p:txBody>
            </p:sp>
            <p:sp>
              <p:nvSpPr>
                <p:cNvPr id="32" name="Flowchart: Process 31">
                  <a:extLst>
                    <a:ext uri="{FF2B5EF4-FFF2-40B4-BE49-F238E27FC236}">
                      <a16:creationId xmlns:a16="http://schemas.microsoft.com/office/drawing/2014/main" id="{027F678B-AF6C-4FFA-78BF-B70377D9DB97}"/>
                    </a:ext>
                  </a:extLst>
                </p:cNvPr>
                <p:cNvSpPr/>
                <p:nvPr/>
              </p:nvSpPr>
              <p:spPr>
                <a:xfrm>
                  <a:off x="6112574" y="1176459"/>
                  <a:ext cx="5715968" cy="823505"/>
                </a:xfrm>
                <a:prstGeom prst="flowChartProcess">
                  <a:avLst/>
                </a:prstGeom>
                <a:solidFill>
                  <a:srgbClr val="C5DE89"/>
                </a:solidFill>
                <a:ln>
                  <a:solidFill>
                    <a:srgbClr val="C5DE89"/>
                  </a:solidFill>
                </a:ln>
              </p:spPr>
              <p:style>
                <a:lnRef idx="2">
                  <a:schemeClr val="lt1">
                    <a:hueOff val="0"/>
                    <a:satOff val="0"/>
                    <a:lumOff val="0"/>
                    <a:alphaOff val="0"/>
                  </a:schemeClr>
                </a:lnRef>
                <a:fillRef idx="1">
                  <a:schemeClr val="accent1">
                    <a:tint val="50000"/>
                    <a:hueOff val="0"/>
                    <a:satOff val="0"/>
                    <a:lumOff val="0"/>
                    <a:alphaOff val="0"/>
                  </a:schemeClr>
                </a:fillRef>
                <a:effectRef idx="0">
                  <a:schemeClr val="accent1">
                    <a:tint val="50000"/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lt1">
                    <a:hueOff val="0"/>
                    <a:satOff val="0"/>
                    <a:lumOff val="0"/>
                    <a:alphaOff val="0"/>
                  </a:schemeClr>
                </a:fontRef>
              </p:style>
              <p:txBody>
                <a:bodyPr/>
                <a:lstStyle/>
                <a:p>
                  <a:endParaRPr lang="en-IN" dirty="0"/>
                </a:p>
              </p:txBody>
            </p:sp>
            <p:sp>
              <p:nvSpPr>
                <p:cNvPr id="33" name="Block Arc 32">
                  <a:extLst>
                    <a:ext uri="{FF2B5EF4-FFF2-40B4-BE49-F238E27FC236}">
                      <a16:creationId xmlns:a16="http://schemas.microsoft.com/office/drawing/2014/main" id="{706D8671-E755-E5D8-633B-3977617B9900}"/>
                    </a:ext>
                  </a:extLst>
                </p:cNvPr>
                <p:cNvSpPr/>
                <p:nvPr/>
              </p:nvSpPr>
              <p:spPr>
                <a:xfrm>
                  <a:off x="2131008" y="719666"/>
                  <a:ext cx="5310926" cy="5418667"/>
                </a:xfrm>
                <a:prstGeom prst="blockArc">
                  <a:avLst>
                    <a:gd name="adj1" fmla="val 17527788"/>
                    <a:gd name="adj2" fmla="val 4119114"/>
                    <a:gd name="adj3" fmla="val 5750"/>
                  </a:avLst>
                </a:prstGeom>
                <a:solidFill>
                  <a:srgbClr val="C5DE89"/>
                </a:solidFill>
              </p:spPr>
              <p:style>
                <a:lnRef idx="2">
                  <a:schemeClr val="lt1">
                    <a:hueOff val="0"/>
                    <a:satOff val="0"/>
                    <a:lumOff val="0"/>
                    <a:alphaOff val="0"/>
                  </a:schemeClr>
                </a:lnRef>
                <a:fillRef idx="1">
                  <a:schemeClr val="accent1">
                    <a:hueOff val="0"/>
                    <a:satOff val="0"/>
                    <a:lumOff val="0"/>
                    <a:alphaOff val="0"/>
                  </a:schemeClr>
                </a:fillRef>
                <a:effectRef idx="0">
                  <a:schemeClr val="accent1"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lt1"/>
                </a:fontRef>
              </p:style>
              <p:txBody>
                <a:bodyPr/>
                <a:lstStyle/>
                <a:p>
                  <a:endParaRPr lang="en-IN" dirty="0"/>
                </a:p>
              </p:txBody>
            </p:sp>
            <p:sp>
              <p:nvSpPr>
                <p:cNvPr id="34" name="Freeform: Shape 33">
                  <a:extLst>
                    <a:ext uri="{FF2B5EF4-FFF2-40B4-BE49-F238E27FC236}">
                      <a16:creationId xmlns:a16="http://schemas.microsoft.com/office/drawing/2014/main" id="{3F750A4E-4A22-44EC-DFF9-9D6471CF0FE4}"/>
                    </a:ext>
                  </a:extLst>
                </p:cNvPr>
                <p:cNvSpPr/>
                <p:nvPr/>
              </p:nvSpPr>
              <p:spPr>
                <a:xfrm>
                  <a:off x="7557498" y="1198676"/>
                  <a:ext cx="1849022" cy="1337327"/>
                </a:xfrm>
                <a:custGeom>
                  <a:avLst/>
                  <a:gdLst>
                    <a:gd name="connsiteX0" fmla="*/ 0 w 1849022"/>
                    <a:gd name="connsiteY0" fmla="*/ 0 h 1337327"/>
                    <a:gd name="connsiteX1" fmla="*/ 1849022 w 1849022"/>
                    <a:gd name="connsiteY1" fmla="*/ 0 h 1337327"/>
                    <a:gd name="connsiteX2" fmla="*/ 1849022 w 1849022"/>
                    <a:gd name="connsiteY2" fmla="*/ 1337327 h 1337327"/>
                    <a:gd name="connsiteX3" fmla="*/ 0 w 1849022"/>
                    <a:gd name="connsiteY3" fmla="*/ 1337327 h 1337327"/>
                    <a:gd name="connsiteX4" fmla="*/ 0 w 1849022"/>
                    <a:gd name="connsiteY4" fmla="*/ 0 h 133732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849022" h="1337327">
                      <a:moveTo>
                        <a:pt x="0" y="0"/>
                      </a:moveTo>
                      <a:lnTo>
                        <a:pt x="1849022" y="0"/>
                      </a:lnTo>
                      <a:lnTo>
                        <a:pt x="1849022" y="1337327"/>
                      </a:lnTo>
                      <a:lnTo>
                        <a:pt x="0" y="1337327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</p:spPr>
              <p:style>
                <a:lnRef idx="0">
                  <a:schemeClr val="dk1">
                    <a:alpha val="0"/>
                    <a:hueOff val="0"/>
                    <a:satOff val="0"/>
                    <a:lumOff val="0"/>
                    <a:alphaOff val="0"/>
                  </a:schemeClr>
                </a:lnRef>
                <a:fillRef idx="0">
                  <a:schemeClr val="lt1">
                    <a:alpha val="0"/>
                    <a:hueOff val="0"/>
                    <a:satOff val="0"/>
                    <a:lumOff val="0"/>
                    <a:alphaOff val="0"/>
                  </a:schemeClr>
                </a:fillRef>
                <a:effectRef idx="0">
                  <a:schemeClr val="lt1">
                    <a:alpha val="0"/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tx1">
                    <a:hueOff val="0"/>
                    <a:satOff val="0"/>
                    <a:lumOff val="0"/>
                    <a:alphaOff val="0"/>
                  </a:schemeClr>
                </a:fontRef>
              </p:style>
              <p:txBody>
                <a:bodyPr spcFirstLastPara="0" vert="horz" wrap="square" lIns="71120" tIns="71120" rIns="71120" bIns="71120" numCol="1" spcCol="1270" anchor="ctr" anchorCtr="0">
                  <a:noAutofit/>
                </a:bodyPr>
                <a:lstStyle/>
                <a:p>
                  <a:pPr marL="0" lvl="0" indent="0" algn="l" defTabSz="2489200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10000"/>
                    </a:spcAft>
                    <a:buNone/>
                  </a:pPr>
                  <a:endParaRPr lang="en-IN" sz="5600" kern="1200"/>
                </a:p>
              </p:txBody>
            </p:sp>
            <p:sp>
              <p:nvSpPr>
                <p:cNvPr id="35" name="Freeform: Shape 34">
                  <a:extLst>
                    <a:ext uri="{FF2B5EF4-FFF2-40B4-BE49-F238E27FC236}">
                      <a16:creationId xmlns:a16="http://schemas.microsoft.com/office/drawing/2014/main" id="{1A317F0A-920C-0D9F-9CDF-6463CAA51317}"/>
                    </a:ext>
                  </a:extLst>
                </p:cNvPr>
                <p:cNvSpPr/>
                <p:nvPr/>
              </p:nvSpPr>
              <p:spPr>
                <a:xfrm>
                  <a:off x="8099107" y="2767922"/>
                  <a:ext cx="1849022" cy="1337327"/>
                </a:xfrm>
                <a:custGeom>
                  <a:avLst/>
                  <a:gdLst>
                    <a:gd name="connsiteX0" fmla="*/ 0 w 1849022"/>
                    <a:gd name="connsiteY0" fmla="*/ 0 h 1337327"/>
                    <a:gd name="connsiteX1" fmla="*/ 1849022 w 1849022"/>
                    <a:gd name="connsiteY1" fmla="*/ 0 h 1337327"/>
                    <a:gd name="connsiteX2" fmla="*/ 1849022 w 1849022"/>
                    <a:gd name="connsiteY2" fmla="*/ 1337327 h 1337327"/>
                    <a:gd name="connsiteX3" fmla="*/ 0 w 1849022"/>
                    <a:gd name="connsiteY3" fmla="*/ 1337327 h 1337327"/>
                    <a:gd name="connsiteX4" fmla="*/ 0 w 1849022"/>
                    <a:gd name="connsiteY4" fmla="*/ 0 h 133732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849022" h="1337327">
                      <a:moveTo>
                        <a:pt x="0" y="0"/>
                      </a:moveTo>
                      <a:lnTo>
                        <a:pt x="1849022" y="0"/>
                      </a:lnTo>
                      <a:lnTo>
                        <a:pt x="1849022" y="1337327"/>
                      </a:lnTo>
                      <a:lnTo>
                        <a:pt x="0" y="1337327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</p:spPr>
              <p:style>
                <a:lnRef idx="0">
                  <a:schemeClr val="dk1">
                    <a:alpha val="0"/>
                    <a:hueOff val="0"/>
                    <a:satOff val="0"/>
                    <a:lumOff val="0"/>
                    <a:alphaOff val="0"/>
                  </a:schemeClr>
                </a:lnRef>
                <a:fillRef idx="0">
                  <a:schemeClr val="lt1">
                    <a:alpha val="0"/>
                    <a:hueOff val="0"/>
                    <a:satOff val="0"/>
                    <a:lumOff val="0"/>
                    <a:alphaOff val="0"/>
                  </a:schemeClr>
                </a:fillRef>
                <a:effectRef idx="0">
                  <a:schemeClr val="lt1">
                    <a:alpha val="0"/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tx1">
                    <a:hueOff val="0"/>
                    <a:satOff val="0"/>
                    <a:lumOff val="0"/>
                    <a:alphaOff val="0"/>
                  </a:schemeClr>
                </a:fontRef>
              </p:style>
              <p:txBody>
                <a:bodyPr spcFirstLastPara="0" vert="horz" wrap="square" lIns="71120" tIns="71120" rIns="71120" bIns="71120" numCol="1" spcCol="1270" anchor="ctr" anchorCtr="0">
                  <a:noAutofit/>
                </a:bodyPr>
                <a:lstStyle/>
                <a:p>
                  <a:pPr marL="0" lvl="0" indent="0" algn="l" defTabSz="2489200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10000"/>
                    </a:spcAft>
                    <a:buNone/>
                  </a:pPr>
                  <a:endParaRPr lang="en-IN" sz="5600" kern="1200"/>
                </a:p>
              </p:txBody>
            </p:sp>
            <p:sp>
              <p:nvSpPr>
                <p:cNvPr id="36" name="Freeform: Shape 35">
                  <a:extLst>
                    <a:ext uri="{FF2B5EF4-FFF2-40B4-BE49-F238E27FC236}">
                      <a16:creationId xmlns:a16="http://schemas.microsoft.com/office/drawing/2014/main" id="{5244548F-FCC2-088C-D4C5-B5BBABACFA8E}"/>
                    </a:ext>
                  </a:extLst>
                </p:cNvPr>
                <p:cNvSpPr/>
                <p:nvPr/>
              </p:nvSpPr>
              <p:spPr>
                <a:xfrm>
                  <a:off x="7557498" y="4370763"/>
                  <a:ext cx="1849022" cy="1337327"/>
                </a:xfrm>
                <a:custGeom>
                  <a:avLst/>
                  <a:gdLst>
                    <a:gd name="connsiteX0" fmla="*/ 0 w 1849022"/>
                    <a:gd name="connsiteY0" fmla="*/ 0 h 1337327"/>
                    <a:gd name="connsiteX1" fmla="*/ 1849022 w 1849022"/>
                    <a:gd name="connsiteY1" fmla="*/ 0 h 1337327"/>
                    <a:gd name="connsiteX2" fmla="*/ 1849022 w 1849022"/>
                    <a:gd name="connsiteY2" fmla="*/ 1337327 h 1337327"/>
                    <a:gd name="connsiteX3" fmla="*/ 0 w 1849022"/>
                    <a:gd name="connsiteY3" fmla="*/ 1337327 h 1337327"/>
                    <a:gd name="connsiteX4" fmla="*/ 0 w 1849022"/>
                    <a:gd name="connsiteY4" fmla="*/ 0 h 133732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849022" h="1337327">
                      <a:moveTo>
                        <a:pt x="0" y="0"/>
                      </a:moveTo>
                      <a:lnTo>
                        <a:pt x="1849022" y="0"/>
                      </a:lnTo>
                      <a:lnTo>
                        <a:pt x="1849022" y="1337327"/>
                      </a:lnTo>
                      <a:lnTo>
                        <a:pt x="0" y="1337327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</p:spPr>
              <p:style>
                <a:lnRef idx="0">
                  <a:schemeClr val="dk1">
                    <a:alpha val="0"/>
                    <a:hueOff val="0"/>
                    <a:satOff val="0"/>
                    <a:lumOff val="0"/>
                    <a:alphaOff val="0"/>
                  </a:schemeClr>
                </a:lnRef>
                <a:fillRef idx="0">
                  <a:schemeClr val="lt1">
                    <a:alpha val="0"/>
                    <a:hueOff val="0"/>
                    <a:satOff val="0"/>
                    <a:lumOff val="0"/>
                    <a:alphaOff val="0"/>
                  </a:schemeClr>
                </a:fillRef>
                <a:effectRef idx="0">
                  <a:schemeClr val="lt1">
                    <a:alpha val="0"/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tx1">
                    <a:hueOff val="0"/>
                    <a:satOff val="0"/>
                    <a:lumOff val="0"/>
                    <a:alphaOff val="0"/>
                  </a:schemeClr>
                </a:fontRef>
              </p:style>
              <p:txBody>
                <a:bodyPr spcFirstLastPara="0" vert="horz" wrap="square" lIns="71120" tIns="71120" rIns="71120" bIns="71120" numCol="1" spcCol="1270" anchor="ctr" anchorCtr="0">
                  <a:noAutofit/>
                </a:bodyPr>
                <a:lstStyle/>
                <a:p>
                  <a:pPr marL="0" lvl="0" indent="0" algn="l" defTabSz="2489200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10000"/>
                    </a:spcAft>
                    <a:buNone/>
                  </a:pPr>
                  <a:endParaRPr lang="en-IN" sz="5600" kern="1200"/>
                </a:p>
              </p:txBody>
            </p:sp>
          </p:grpSp>
        </p:grpSp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0EBEEF51-7CD7-2665-5150-CF0AD4B8C4E0}"/>
                </a:ext>
              </a:extLst>
            </p:cNvPr>
            <p:cNvSpPr txBox="1"/>
            <p:nvPr/>
          </p:nvSpPr>
          <p:spPr>
            <a:xfrm>
              <a:off x="6610649" y="1149475"/>
              <a:ext cx="4310211" cy="72364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>
                <a:buClr>
                  <a:srgbClr val="97C139"/>
                </a:buClr>
              </a:pPr>
              <a:r>
                <a:rPr lang="en-US" dirty="0"/>
                <a:t>Simplified guiding system</a:t>
              </a:r>
              <a:r>
                <a:rPr lang="en-US" b="1" dirty="0"/>
                <a:t>:</a:t>
              </a:r>
              <a:r>
                <a:rPr lang="en-US" dirty="0"/>
                <a:t>  Single elongated rail featuring grooves for mechanical locking and easier insertion.</a:t>
              </a:r>
              <a:endParaRPr lang="en-IN" dirty="0" err="1"/>
            </a:p>
          </p:txBody>
        </p:sp>
        <p:sp>
          <p:nvSpPr>
            <p:cNvPr id="37" name="TextBox 36">
              <a:extLst>
                <a:ext uri="{FF2B5EF4-FFF2-40B4-BE49-F238E27FC236}">
                  <a16:creationId xmlns:a16="http://schemas.microsoft.com/office/drawing/2014/main" id="{E389BD22-A33F-E428-C9F7-D0C25666B874}"/>
                </a:ext>
              </a:extLst>
            </p:cNvPr>
            <p:cNvSpPr txBox="1"/>
            <p:nvPr/>
          </p:nvSpPr>
          <p:spPr>
            <a:xfrm>
              <a:off x="6916674" y="2373559"/>
              <a:ext cx="3967857" cy="54501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>
                <a:buClr>
                  <a:srgbClr val="97C139"/>
                </a:buClr>
              </a:pPr>
              <a:r>
                <a:rPr lang="en-US" dirty="0"/>
                <a:t>Improved stability: Extended and thickened tail (by 80 mm) to shift the center of gravity rearward and prevent forward tilting.</a:t>
              </a:r>
              <a:endParaRPr lang="en-IN" dirty="0" err="1"/>
            </a:p>
          </p:txBody>
        </p:sp>
        <p:sp>
          <p:nvSpPr>
            <p:cNvPr id="38" name="TextBox 37">
              <a:extLst>
                <a:ext uri="{FF2B5EF4-FFF2-40B4-BE49-F238E27FC236}">
                  <a16:creationId xmlns:a16="http://schemas.microsoft.com/office/drawing/2014/main" id="{14E23F64-AB61-BCFB-A4FF-A4779B3BECAA}"/>
                </a:ext>
              </a:extLst>
            </p:cNvPr>
            <p:cNvSpPr txBox="1"/>
            <p:nvPr/>
          </p:nvSpPr>
          <p:spPr>
            <a:xfrm>
              <a:off x="6987100" y="3557630"/>
              <a:ext cx="3897431" cy="66850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>
                <a:buClr>
                  <a:srgbClr val="97C139"/>
                </a:buClr>
              </a:pPr>
              <a:r>
                <a:rPr lang="en-US" dirty="0"/>
                <a:t>Refined outlet geometry</a:t>
              </a:r>
              <a:r>
                <a:rPr lang="en-US" b="1" dirty="0"/>
                <a:t>:</a:t>
              </a:r>
              <a:r>
                <a:rPr lang="en-US" dirty="0"/>
                <a:t> Slightly undersized outlet (2–3%) ensures smooth liner entry without edge damage.</a:t>
              </a:r>
              <a:endParaRPr lang="en-IN" dirty="0" err="1"/>
            </a:p>
          </p:txBody>
        </p:sp>
        <p:sp>
          <p:nvSpPr>
            <p:cNvPr id="39" name="TextBox 38">
              <a:extLst>
                <a:ext uri="{FF2B5EF4-FFF2-40B4-BE49-F238E27FC236}">
                  <a16:creationId xmlns:a16="http://schemas.microsoft.com/office/drawing/2014/main" id="{59B72B71-58E5-3CAF-7770-38B64BBA3F27}"/>
                </a:ext>
              </a:extLst>
            </p:cNvPr>
            <p:cNvSpPr txBox="1"/>
            <p:nvPr/>
          </p:nvSpPr>
          <p:spPr>
            <a:xfrm>
              <a:off x="6477736" y="4906925"/>
              <a:ext cx="4104456" cy="66629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>
                <a:buClr>
                  <a:srgbClr val="97C139"/>
                </a:buClr>
              </a:pPr>
              <a:r>
                <a:rPr lang="en-US" dirty="0"/>
                <a:t>Enhanced adaptability: Simplified overall geometry for easier parametric adjustments and faster design modifications.</a:t>
              </a:r>
              <a:endParaRPr lang="en-IN" dirty="0" err="1"/>
            </a:p>
          </p:txBody>
        </p:sp>
      </p:grpSp>
      <p:sp>
        <p:nvSpPr>
          <p:cNvPr id="41" name="Freeform: Shape 40">
            <a:extLst>
              <a:ext uri="{FF2B5EF4-FFF2-40B4-BE49-F238E27FC236}">
                <a16:creationId xmlns:a16="http://schemas.microsoft.com/office/drawing/2014/main" id="{84F2B680-4D83-FEC6-53BF-9B01709D358B}"/>
              </a:ext>
            </a:extLst>
          </p:cNvPr>
          <p:cNvSpPr/>
          <p:nvPr/>
        </p:nvSpPr>
        <p:spPr>
          <a:xfrm>
            <a:off x="5680376" y="4753166"/>
            <a:ext cx="435092" cy="496485"/>
          </a:xfrm>
          <a:custGeom>
            <a:avLst/>
            <a:gdLst>
              <a:gd name="connsiteX0" fmla="*/ 1096 w 435092"/>
              <a:gd name="connsiteY0" fmla="*/ 489394 h 496485"/>
              <a:gd name="connsiteX1" fmla="*/ 55960 w 435092"/>
              <a:gd name="connsiteY1" fmla="*/ 471106 h 496485"/>
              <a:gd name="connsiteX2" fmla="*/ 80344 w 435092"/>
              <a:gd name="connsiteY2" fmla="*/ 428434 h 496485"/>
              <a:gd name="connsiteX3" fmla="*/ 98632 w 435092"/>
              <a:gd name="connsiteY3" fmla="*/ 416242 h 496485"/>
              <a:gd name="connsiteX4" fmla="*/ 135208 w 435092"/>
              <a:gd name="connsiteY4" fmla="*/ 385762 h 496485"/>
              <a:gd name="connsiteX5" fmla="*/ 165688 w 435092"/>
              <a:gd name="connsiteY5" fmla="*/ 361378 h 496485"/>
              <a:gd name="connsiteX6" fmla="*/ 183976 w 435092"/>
              <a:gd name="connsiteY6" fmla="*/ 343090 h 496485"/>
              <a:gd name="connsiteX7" fmla="*/ 202264 w 435092"/>
              <a:gd name="connsiteY7" fmla="*/ 330898 h 496485"/>
              <a:gd name="connsiteX8" fmla="*/ 226648 w 435092"/>
              <a:gd name="connsiteY8" fmla="*/ 294322 h 496485"/>
              <a:gd name="connsiteX9" fmla="*/ 263224 w 435092"/>
              <a:gd name="connsiteY9" fmla="*/ 263842 h 496485"/>
              <a:gd name="connsiteX10" fmla="*/ 281512 w 435092"/>
              <a:gd name="connsiteY10" fmla="*/ 251650 h 496485"/>
              <a:gd name="connsiteX11" fmla="*/ 287608 w 435092"/>
              <a:gd name="connsiteY11" fmla="*/ 233362 h 496485"/>
              <a:gd name="connsiteX12" fmla="*/ 305896 w 435092"/>
              <a:gd name="connsiteY12" fmla="*/ 227266 h 496485"/>
              <a:gd name="connsiteX13" fmla="*/ 324184 w 435092"/>
              <a:gd name="connsiteY13" fmla="*/ 208978 h 496485"/>
              <a:gd name="connsiteX14" fmla="*/ 336376 w 435092"/>
              <a:gd name="connsiteY14" fmla="*/ 190690 h 496485"/>
              <a:gd name="connsiteX15" fmla="*/ 403432 w 435092"/>
              <a:gd name="connsiteY15" fmla="*/ 129730 h 496485"/>
              <a:gd name="connsiteX16" fmla="*/ 409528 w 435092"/>
              <a:gd name="connsiteY16" fmla="*/ 111442 h 496485"/>
              <a:gd name="connsiteX17" fmla="*/ 421720 w 435092"/>
              <a:gd name="connsiteY17" fmla="*/ 87058 h 496485"/>
              <a:gd name="connsiteX18" fmla="*/ 427816 w 435092"/>
              <a:gd name="connsiteY18" fmla="*/ 62674 h 496485"/>
              <a:gd name="connsiteX19" fmla="*/ 433912 w 435092"/>
              <a:gd name="connsiteY19" fmla="*/ 44386 h 496485"/>
              <a:gd name="connsiteX20" fmla="*/ 427816 w 435092"/>
              <a:gd name="connsiteY20" fmla="*/ 1714 h 496485"/>
              <a:gd name="connsiteX21" fmla="*/ 379048 w 435092"/>
              <a:gd name="connsiteY21" fmla="*/ 20002 h 496485"/>
              <a:gd name="connsiteX22" fmla="*/ 299800 w 435092"/>
              <a:gd name="connsiteY22" fmla="*/ 93154 h 496485"/>
              <a:gd name="connsiteX23" fmla="*/ 208360 w 435092"/>
              <a:gd name="connsiteY23" fmla="*/ 178498 h 496485"/>
              <a:gd name="connsiteX24" fmla="*/ 177880 w 435092"/>
              <a:gd name="connsiteY24" fmla="*/ 221170 h 496485"/>
              <a:gd name="connsiteX25" fmla="*/ 147400 w 435092"/>
              <a:gd name="connsiteY25" fmla="*/ 257746 h 496485"/>
              <a:gd name="connsiteX26" fmla="*/ 135208 w 435092"/>
              <a:gd name="connsiteY26" fmla="*/ 282130 h 496485"/>
              <a:gd name="connsiteX27" fmla="*/ 98632 w 435092"/>
              <a:gd name="connsiteY27" fmla="*/ 318706 h 496485"/>
              <a:gd name="connsiteX28" fmla="*/ 74248 w 435092"/>
              <a:gd name="connsiteY28" fmla="*/ 355282 h 496485"/>
              <a:gd name="connsiteX29" fmla="*/ 62056 w 435092"/>
              <a:gd name="connsiteY29" fmla="*/ 373570 h 496485"/>
              <a:gd name="connsiteX30" fmla="*/ 43768 w 435092"/>
              <a:gd name="connsiteY30" fmla="*/ 416242 h 496485"/>
              <a:gd name="connsiteX31" fmla="*/ 19384 w 435092"/>
              <a:gd name="connsiteY31" fmla="*/ 495490 h 496485"/>
              <a:gd name="connsiteX32" fmla="*/ 1096 w 435092"/>
              <a:gd name="connsiteY32" fmla="*/ 489394 h 4964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</a:cxnLst>
            <a:rect l="l" t="t" r="r" b="b"/>
            <a:pathLst>
              <a:path w="435092" h="496485">
                <a:moveTo>
                  <a:pt x="1096" y="489394"/>
                </a:moveTo>
                <a:cubicBezTo>
                  <a:pt x="7192" y="485330"/>
                  <a:pt x="42135" y="487696"/>
                  <a:pt x="55960" y="471106"/>
                </a:cubicBezTo>
                <a:cubicBezTo>
                  <a:pt x="79866" y="442419"/>
                  <a:pt x="56309" y="452469"/>
                  <a:pt x="80344" y="428434"/>
                </a:cubicBezTo>
                <a:cubicBezTo>
                  <a:pt x="85525" y="423253"/>
                  <a:pt x="92536" y="420306"/>
                  <a:pt x="98632" y="416242"/>
                </a:cubicBezTo>
                <a:cubicBezTo>
                  <a:pt x="128336" y="371686"/>
                  <a:pt x="88802" y="424433"/>
                  <a:pt x="135208" y="385762"/>
                </a:cubicBezTo>
                <a:cubicBezTo>
                  <a:pt x="171973" y="355125"/>
                  <a:pt x="122024" y="375933"/>
                  <a:pt x="165688" y="361378"/>
                </a:cubicBezTo>
                <a:cubicBezTo>
                  <a:pt x="171784" y="355282"/>
                  <a:pt x="177353" y="348609"/>
                  <a:pt x="183976" y="343090"/>
                </a:cubicBezTo>
                <a:cubicBezTo>
                  <a:pt x="189604" y="338400"/>
                  <a:pt x="197439" y="336412"/>
                  <a:pt x="202264" y="330898"/>
                </a:cubicBezTo>
                <a:cubicBezTo>
                  <a:pt x="211913" y="319871"/>
                  <a:pt x="214456" y="302450"/>
                  <a:pt x="226648" y="294322"/>
                </a:cubicBezTo>
                <a:cubicBezTo>
                  <a:pt x="272054" y="264052"/>
                  <a:pt x="216287" y="302956"/>
                  <a:pt x="263224" y="263842"/>
                </a:cubicBezTo>
                <a:cubicBezTo>
                  <a:pt x="268852" y="259152"/>
                  <a:pt x="275416" y="255714"/>
                  <a:pt x="281512" y="251650"/>
                </a:cubicBezTo>
                <a:cubicBezTo>
                  <a:pt x="283544" y="245554"/>
                  <a:pt x="283064" y="237906"/>
                  <a:pt x="287608" y="233362"/>
                </a:cubicBezTo>
                <a:cubicBezTo>
                  <a:pt x="292152" y="228818"/>
                  <a:pt x="300549" y="230830"/>
                  <a:pt x="305896" y="227266"/>
                </a:cubicBezTo>
                <a:cubicBezTo>
                  <a:pt x="313069" y="222484"/>
                  <a:pt x="318665" y="215601"/>
                  <a:pt x="324184" y="208978"/>
                </a:cubicBezTo>
                <a:cubicBezTo>
                  <a:pt x="328874" y="203350"/>
                  <a:pt x="331509" y="196166"/>
                  <a:pt x="336376" y="190690"/>
                </a:cubicBezTo>
                <a:cubicBezTo>
                  <a:pt x="364546" y="158999"/>
                  <a:pt x="372774" y="154256"/>
                  <a:pt x="403432" y="129730"/>
                </a:cubicBezTo>
                <a:cubicBezTo>
                  <a:pt x="405464" y="123634"/>
                  <a:pt x="406997" y="117348"/>
                  <a:pt x="409528" y="111442"/>
                </a:cubicBezTo>
                <a:cubicBezTo>
                  <a:pt x="413108" y="103089"/>
                  <a:pt x="418529" y="95567"/>
                  <a:pt x="421720" y="87058"/>
                </a:cubicBezTo>
                <a:cubicBezTo>
                  <a:pt x="424662" y="79213"/>
                  <a:pt x="425514" y="70730"/>
                  <a:pt x="427816" y="62674"/>
                </a:cubicBezTo>
                <a:cubicBezTo>
                  <a:pt x="429581" y="56495"/>
                  <a:pt x="431880" y="50482"/>
                  <a:pt x="433912" y="44386"/>
                </a:cubicBezTo>
                <a:cubicBezTo>
                  <a:pt x="431880" y="30162"/>
                  <a:pt x="440946" y="7550"/>
                  <a:pt x="427816" y="1714"/>
                </a:cubicBezTo>
                <a:cubicBezTo>
                  <a:pt x="411951" y="-5337"/>
                  <a:pt x="393935" y="11070"/>
                  <a:pt x="379048" y="20002"/>
                </a:cubicBezTo>
                <a:cubicBezTo>
                  <a:pt x="354320" y="34839"/>
                  <a:pt x="321059" y="73666"/>
                  <a:pt x="299800" y="93154"/>
                </a:cubicBezTo>
                <a:cubicBezTo>
                  <a:pt x="267184" y="123052"/>
                  <a:pt x="235614" y="140343"/>
                  <a:pt x="208360" y="178498"/>
                </a:cubicBezTo>
                <a:cubicBezTo>
                  <a:pt x="198200" y="192722"/>
                  <a:pt x="188538" y="207315"/>
                  <a:pt x="177880" y="221170"/>
                </a:cubicBezTo>
                <a:cubicBezTo>
                  <a:pt x="168204" y="233749"/>
                  <a:pt x="156501" y="244744"/>
                  <a:pt x="147400" y="257746"/>
                </a:cubicBezTo>
                <a:cubicBezTo>
                  <a:pt x="142189" y="265191"/>
                  <a:pt x="140885" y="275034"/>
                  <a:pt x="135208" y="282130"/>
                </a:cubicBezTo>
                <a:cubicBezTo>
                  <a:pt x="124437" y="295594"/>
                  <a:pt x="108196" y="304360"/>
                  <a:pt x="98632" y="318706"/>
                </a:cubicBezTo>
                <a:lnTo>
                  <a:pt x="74248" y="355282"/>
                </a:lnTo>
                <a:cubicBezTo>
                  <a:pt x="70184" y="361378"/>
                  <a:pt x="64373" y="366619"/>
                  <a:pt x="62056" y="373570"/>
                </a:cubicBezTo>
                <a:cubicBezTo>
                  <a:pt x="53086" y="400479"/>
                  <a:pt x="58834" y="386111"/>
                  <a:pt x="43768" y="416242"/>
                </a:cubicBezTo>
                <a:cubicBezTo>
                  <a:pt x="38514" y="442514"/>
                  <a:pt x="40110" y="474764"/>
                  <a:pt x="19384" y="495490"/>
                </a:cubicBezTo>
                <a:cubicBezTo>
                  <a:pt x="16171" y="498703"/>
                  <a:pt x="-5000" y="493458"/>
                  <a:pt x="1096" y="489394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0000" tIns="46800" rIns="90000" bIns="468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600"/>
              </a:spcBef>
            </a:pPr>
            <a:endParaRPr lang="en-IN" dirty="0" err="1">
              <a:solidFill>
                <a:schemeClr val="tx1"/>
              </a:solidFill>
            </a:endParaRPr>
          </a:p>
        </p:txBody>
      </p:sp>
      <p:sp>
        <p:nvSpPr>
          <p:cNvPr id="45" name="Freeform: Shape 44">
            <a:extLst>
              <a:ext uri="{FF2B5EF4-FFF2-40B4-BE49-F238E27FC236}">
                <a16:creationId xmlns:a16="http://schemas.microsoft.com/office/drawing/2014/main" id="{E22FFBCA-3433-3F90-B2E6-18D1ABA038AB}"/>
              </a:ext>
            </a:extLst>
          </p:cNvPr>
          <p:cNvSpPr/>
          <p:nvPr/>
        </p:nvSpPr>
        <p:spPr>
          <a:xfrm>
            <a:off x="5596128" y="1377147"/>
            <a:ext cx="676656" cy="780837"/>
          </a:xfrm>
          <a:custGeom>
            <a:avLst/>
            <a:gdLst>
              <a:gd name="connsiteX0" fmla="*/ 85344 w 676656"/>
              <a:gd name="connsiteY0" fmla="*/ 549 h 780837"/>
              <a:gd name="connsiteX1" fmla="*/ 140208 w 676656"/>
              <a:gd name="connsiteY1" fmla="*/ 43221 h 780837"/>
              <a:gd name="connsiteX2" fmla="*/ 158496 w 676656"/>
              <a:gd name="connsiteY2" fmla="*/ 61509 h 780837"/>
              <a:gd name="connsiteX3" fmla="*/ 201168 w 676656"/>
              <a:gd name="connsiteY3" fmla="*/ 85893 h 780837"/>
              <a:gd name="connsiteX4" fmla="*/ 237744 w 676656"/>
              <a:gd name="connsiteY4" fmla="*/ 110277 h 780837"/>
              <a:gd name="connsiteX5" fmla="*/ 256032 w 676656"/>
              <a:gd name="connsiteY5" fmla="*/ 128565 h 780837"/>
              <a:gd name="connsiteX6" fmla="*/ 274320 w 676656"/>
              <a:gd name="connsiteY6" fmla="*/ 134661 h 780837"/>
              <a:gd name="connsiteX7" fmla="*/ 286512 w 676656"/>
              <a:gd name="connsiteY7" fmla="*/ 152949 h 780837"/>
              <a:gd name="connsiteX8" fmla="*/ 323088 w 676656"/>
              <a:gd name="connsiteY8" fmla="*/ 189525 h 780837"/>
              <a:gd name="connsiteX9" fmla="*/ 341376 w 676656"/>
              <a:gd name="connsiteY9" fmla="*/ 207813 h 780837"/>
              <a:gd name="connsiteX10" fmla="*/ 353568 w 676656"/>
              <a:gd name="connsiteY10" fmla="*/ 226101 h 780837"/>
              <a:gd name="connsiteX11" fmla="*/ 371856 w 676656"/>
              <a:gd name="connsiteY11" fmla="*/ 244389 h 780837"/>
              <a:gd name="connsiteX12" fmla="*/ 408432 w 676656"/>
              <a:gd name="connsiteY12" fmla="*/ 268773 h 780837"/>
              <a:gd name="connsiteX13" fmla="*/ 420624 w 676656"/>
              <a:gd name="connsiteY13" fmla="*/ 287061 h 780837"/>
              <a:gd name="connsiteX14" fmla="*/ 438912 w 676656"/>
              <a:gd name="connsiteY14" fmla="*/ 305349 h 780837"/>
              <a:gd name="connsiteX15" fmla="*/ 445008 w 676656"/>
              <a:gd name="connsiteY15" fmla="*/ 323637 h 780837"/>
              <a:gd name="connsiteX16" fmla="*/ 463296 w 676656"/>
              <a:gd name="connsiteY16" fmla="*/ 348021 h 780837"/>
              <a:gd name="connsiteX17" fmla="*/ 475488 w 676656"/>
              <a:gd name="connsiteY17" fmla="*/ 366309 h 780837"/>
              <a:gd name="connsiteX18" fmla="*/ 493776 w 676656"/>
              <a:gd name="connsiteY18" fmla="*/ 384597 h 780837"/>
              <a:gd name="connsiteX19" fmla="*/ 512064 w 676656"/>
              <a:gd name="connsiteY19" fmla="*/ 421173 h 780837"/>
              <a:gd name="connsiteX20" fmla="*/ 566928 w 676656"/>
              <a:gd name="connsiteY20" fmla="*/ 463845 h 780837"/>
              <a:gd name="connsiteX21" fmla="*/ 585216 w 676656"/>
              <a:gd name="connsiteY21" fmla="*/ 476037 h 780837"/>
              <a:gd name="connsiteX22" fmla="*/ 621792 w 676656"/>
              <a:gd name="connsiteY22" fmla="*/ 530901 h 780837"/>
              <a:gd name="connsiteX23" fmla="*/ 633984 w 676656"/>
              <a:gd name="connsiteY23" fmla="*/ 549189 h 780837"/>
              <a:gd name="connsiteX24" fmla="*/ 652272 w 676656"/>
              <a:gd name="connsiteY24" fmla="*/ 567477 h 780837"/>
              <a:gd name="connsiteX25" fmla="*/ 658368 w 676656"/>
              <a:gd name="connsiteY25" fmla="*/ 585765 h 780837"/>
              <a:gd name="connsiteX26" fmla="*/ 670560 w 676656"/>
              <a:gd name="connsiteY26" fmla="*/ 604053 h 780837"/>
              <a:gd name="connsiteX27" fmla="*/ 676656 w 676656"/>
              <a:gd name="connsiteY27" fmla="*/ 634533 h 780837"/>
              <a:gd name="connsiteX28" fmla="*/ 664464 w 676656"/>
              <a:gd name="connsiteY28" fmla="*/ 713781 h 780837"/>
              <a:gd name="connsiteX29" fmla="*/ 591312 w 676656"/>
              <a:gd name="connsiteY29" fmla="*/ 750357 h 780837"/>
              <a:gd name="connsiteX30" fmla="*/ 548640 w 676656"/>
              <a:gd name="connsiteY30" fmla="*/ 768645 h 780837"/>
              <a:gd name="connsiteX31" fmla="*/ 487680 w 676656"/>
              <a:gd name="connsiteY31" fmla="*/ 774741 h 780837"/>
              <a:gd name="connsiteX32" fmla="*/ 451104 w 676656"/>
              <a:gd name="connsiteY32" fmla="*/ 780837 h 780837"/>
              <a:gd name="connsiteX33" fmla="*/ 213360 w 676656"/>
              <a:gd name="connsiteY33" fmla="*/ 774741 h 780837"/>
              <a:gd name="connsiteX34" fmla="*/ 188976 w 676656"/>
              <a:gd name="connsiteY34" fmla="*/ 762549 h 780837"/>
              <a:gd name="connsiteX35" fmla="*/ 146304 w 676656"/>
              <a:gd name="connsiteY35" fmla="*/ 750357 h 780837"/>
              <a:gd name="connsiteX36" fmla="*/ 128016 w 676656"/>
              <a:gd name="connsiteY36" fmla="*/ 732069 h 780837"/>
              <a:gd name="connsiteX37" fmla="*/ 67056 w 676656"/>
              <a:gd name="connsiteY37" fmla="*/ 677205 h 780837"/>
              <a:gd name="connsiteX38" fmla="*/ 42672 w 676656"/>
              <a:gd name="connsiteY38" fmla="*/ 634533 h 780837"/>
              <a:gd name="connsiteX39" fmla="*/ 18288 w 676656"/>
              <a:gd name="connsiteY39" fmla="*/ 585765 h 780837"/>
              <a:gd name="connsiteX40" fmla="*/ 6096 w 676656"/>
              <a:gd name="connsiteY40" fmla="*/ 530901 h 780837"/>
              <a:gd name="connsiteX41" fmla="*/ 0 w 676656"/>
              <a:gd name="connsiteY41" fmla="*/ 506517 h 780837"/>
              <a:gd name="connsiteX42" fmla="*/ 6096 w 676656"/>
              <a:gd name="connsiteY42" fmla="*/ 232197 h 780837"/>
              <a:gd name="connsiteX43" fmla="*/ 12192 w 676656"/>
              <a:gd name="connsiteY43" fmla="*/ 213909 h 780837"/>
              <a:gd name="connsiteX44" fmla="*/ 36576 w 676656"/>
              <a:gd name="connsiteY44" fmla="*/ 152949 h 780837"/>
              <a:gd name="connsiteX45" fmla="*/ 48768 w 676656"/>
              <a:gd name="connsiteY45" fmla="*/ 116373 h 780837"/>
              <a:gd name="connsiteX46" fmla="*/ 54864 w 676656"/>
              <a:gd name="connsiteY46" fmla="*/ 98085 h 780837"/>
              <a:gd name="connsiteX47" fmla="*/ 60960 w 676656"/>
              <a:gd name="connsiteY47" fmla="*/ 73701 h 780837"/>
              <a:gd name="connsiteX48" fmla="*/ 85344 w 676656"/>
              <a:gd name="connsiteY48" fmla="*/ 549 h 7808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</a:cxnLst>
            <a:rect l="l" t="t" r="r" b="b"/>
            <a:pathLst>
              <a:path w="676656" h="780837">
                <a:moveTo>
                  <a:pt x="85344" y="549"/>
                </a:moveTo>
                <a:cubicBezTo>
                  <a:pt x="98552" y="-4531"/>
                  <a:pt x="123825" y="26838"/>
                  <a:pt x="140208" y="43221"/>
                </a:cubicBezTo>
                <a:cubicBezTo>
                  <a:pt x="146304" y="49317"/>
                  <a:pt x="151481" y="56498"/>
                  <a:pt x="158496" y="61509"/>
                </a:cubicBezTo>
                <a:cubicBezTo>
                  <a:pt x="200233" y="91321"/>
                  <a:pt x="166612" y="57096"/>
                  <a:pt x="201168" y="85893"/>
                </a:cubicBezTo>
                <a:cubicBezTo>
                  <a:pt x="231610" y="111262"/>
                  <a:pt x="205605" y="99564"/>
                  <a:pt x="237744" y="110277"/>
                </a:cubicBezTo>
                <a:cubicBezTo>
                  <a:pt x="243840" y="116373"/>
                  <a:pt x="248859" y="123783"/>
                  <a:pt x="256032" y="128565"/>
                </a:cubicBezTo>
                <a:cubicBezTo>
                  <a:pt x="261379" y="132129"/>
                  <a:pt x="269302" y="130647"/>
                  <a:pt x="274320" y="134661"/>
                </a:cubicBezTo>
                <a:cubicBezTo>
                  <a:pt x="280041" y="139238"/>
                  <a:pt x="281645" y="147473"/>
                  <a:pt x="286512" y="152949"/>
                </a:cubicBezTo>
                <a:cubicBezTo>
                  <a:pt x="297967" y="165836"/>
                  <a:pt x="310896" y="177333"/>
                  <a:pt x="323088" y="189525"/>
                </a:cubicBezTo>
                <a:cubicBezTo>
                  <a:pt x="329184" y="195621"/>
                  <a:pt x="336594" y="200640"/>
                  <a:pt x="341376" y="207813"/>
                </a:cubicBezTo>
                <a:cubicBezTo>
                  <a:pt x="345440" y="213909"/>
                  <a:pt x="348878" y="220473"/>
                  <a:pt x="353568" y="226101"/>
                </a:cubicBezTo>
                <a:cubicBezTo>
                  <a:pt x="359087" y="232724"/>
                  <a:pt x="365051" y="239096"/>
                  <a:pt x="371856" y="244389"/>
                </a:cubicBezTo>
                <a:cubicBezTo>
                  <a:pt x="383422" y="253385"/>
                  <a:pt x="408432" y="268773"/>
                  <a:pt x="408432" y="268773"/>
                </a:cubicBezTo>
                <a:cubicBezTo>
                  <a:pt x="412496" y="274869"/>
                  <a:pt x="415934" y="281433"/>
                  <a:pt x="420624" y="287061"/>
                </a:cubicBezTo>
                <a:cubicBezTo>
                  <a:pt x="426143" y="293684"/>
                  <a:pt x="434130" y="298176"/>
                  <a:pt x="438912" y="305349"/>
                </a:cubicBezTo>
                <a:cubicBezTo>
                  <a:pt x="442476" y="310696"/>
                  <a:pt x="441820" y="318058"/>
                  <a:pt x="445008" y="323637"/>
                </a:cubicBezTo>
                <a:cubicBezTo>
                  <a:pt x="450049" y="332458"/>
                  <a:pt x="457391" y="339753"/>
                  <a:pt x="463296" y="348021"/>
                </a:cubicBezTo>
                <a:cubicBezTo>
                  <a:pt x="467554" y="353983"/>
                  <a:pt x="470798" y="360681"/>
                  <a:pt x="475488" y="366309"/>
                </a:cubicBezTo>
                <a:cubicBezTo>
                  <a:pt x="481007" y="372932"/>
                  <a:pt x="488257" y="377974"/>
                  <a:pt x="493776" y="384597"/>
                </a:cubicBezTo>
                <a:cubicBezTo>
                  <a:pt x="541737" y="442150"/>
                  <a:pt x="475406" y="366186"/>
                  <a:pt x="512064" y="421173"/>
                </a:cubicBezTo>
                <a:cubicBezTo>
                  <a:pt x="523524" y="438363"/>
                  <a:pt x="552395" y="454157"/>
                  <a:pt x="566928" y="463845"/>
                </a:cubicBezTo>
                <a:lnTo>
                  <a:pt x="585216" y="476037"/>
                </a:lnTo>
                <a:lnTo>
                  <a:pt x="621792" y="530901"/>
                </a:lnTo>
                <a:cubicBezTo>
                  <a:pt x="625856" y="536997"/>
                  <a:pt x="628803" y="544008"/>
                  <a:pt x="633984" y="549189"/>
                </a:cubicBezTo>
                <a:lnTo>
                  <a:pt x="652272" y="567477"/>
                </a:lnTo>
                <a:cubicBezTo>
                  <a:pt x="654304" y="573573"/>
                  <a:pt x="655494" y="580018"/>
                  <a:pt x="658368" y="585765"/>
                </a:cubicBezTo>
                <a:cubicBezTo>
                  <a:pt x="661645" y="592318"/>
                  <a:pt x="667988" y="597193"/>
                  <a:pt x="670560" y="604053"/>
                </a:cubicBezTo>
                <a:cubicBezTo>
                  <a:pt x="674198" y="613755"/>
                  <a:pt x="674624" y="624373"/>
                  <a:pt x="676656" y="634533"/>
                </a:cubicBezTo>
                <a:cubicBezTo>
                  <a:pt x="672592" y="660949"/>
                  <a:pt x="675844" y="689598"/>
                  <a:pt x="664464" y="713781"/>
                </a:cubicBezTo>
                <a:cubicBezTo>
                  <a:pt x="655108" y="733663"/>
                  <a:pt x="608537" y="743732"/>
                  <a:pt x="591312" y="750357"/>
                </a:cubicBezTo>
                <a:cubicBezTo>
                  <a:pt x="576868" y="755912"/>
                  <a:pt x="563704" y="765101"/>
                  <a:pt x="548640" y="768645"/>
                </a:cubicBezTo>
                <a:cubicBezTo>
                  <a:pt x="528762" y="773322"/>
                  <a:pt x="507944" y="772208"/>
                  <a:pt x="487680" y="774741"/>
                </a:cubicBezTo>
                <a:cubicBezTo>
                  <a:pt x="475415" y="776274"/>
                  <a:pt x="463296" y="778805"/>
                  <a:pt x="451104" y="780837"/>
                </a:cubicBezTo>
                <a:cubicBezTo>
                  <a:pt x="371856" y="778805"/>
                  <a:pt x="292442" y="780258"/>
                  <a:pt x="213360" y="774741"/>
                </a:cubicBezTo>
                <a:cubicBezTo>
                  <a:pt x="204295" y="774109"/>
                  <a:pt x="197329" y="766129"/>
                  <a:pt x="188976" y="762549"/>
                </a:cubicBezTo>
                <a:cubicBezTo>
                  <a:pt x="176732" y="757302"/>
                  <a:pt x="158678" y="753450"/>
                  <a:pt x="146304" y="750357"/>
                </a:cubicBezTo>
                <a:cubicBezTo>
                  <a:pt x="140208" y="744261"/>
                  <a:pt x="134504" y="737746"/>
                  <a:pt x="128016" y="732069"/>
                </a:cubicBezTo>
                <a:cubicBezTo>
                  <a:pt x="93804" y="702133"/>
                  <a:pt x="98467" y="713104"/>
                  <a:pt x="67056" y="677205"/>
                </a:cubicBezTo>
                <a:cubicBezTo>
                  <a:pt x="54825" y="663227"/>
                  <a:pt x="51937" y="650746"/>
                  <a:pt x="42672" y="634533"/>
                </a:cubicBezTo>
                <a:cubicBezTo>
                  <a:pt x="24752" y="603172"/>
                  <a:pt x="32691" y="628974"/>
                  <a:pt x="18288" y="585765"/>
                </a:cubicBezTo>
                <a:cubicBezTo>
                  <a:pt x="13332" y="570898"/>
                  <a:pt x="9317" y="545396"/>
                  <a:pt x="6096" y="530901"/>
                </a:cubicBezTo>
                <a:cubicBezTo>
                  <a:pt x="4279" y="522722"/>
                  <a:pt x="2032" y="514645"/>
                  <a:pt x="0" y="506517"/>
                </a:cubicBezTo>
                <a:cubicBezTo>
                  <a:pt x="2032" y="415077"/>
                  <a:pt x="2288" y="323580"/>
                  <a:pt x="6096" y="232197"/>
                </a:cubicBezTo>
                <a:cubicBezTo>
                  <a:pt x="6364" y="225777"/>
                  <a:pt x="9885" y="219906"/>
                  <a:pt x="12192" y="213909"/>
                </a:cubicBezTo>
                <a:cubicBezTo>
                  <a:pt x="20048" y="193482"/>
                  <a:pt x="29655" y="173711"/>
                  <a:pt x="36576" y="152949"/>
                </a:cubicBezTo>
                <a:lnTo>
                  <a:pt x="48768" y="116373"/>
                </a:lnTo>
                <a:cubicBezTo>
                  <a:pt x="50800" y="110277"/>
                  <a:pt x="53306" y="104319"/>
                  <a:pt x="54864" y="98085"/>
                </a:cubicBezTo>
                <a:cubicBezTo>
                  <a:pt x="56896" y="89957"/>
                  <a:pt x="58553" y="81726"/>
                  <a:pt x="60960" y="73701"/>
                </a:cubicBezTo>
                <a:cubicBezTo>
                  <a:pt x="75080" y="26635"/>
                  <a:pt x="72136" y="5629"/>
                  <a:pt x="85344" y="549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0000" tIns="46800" rIns="90000" bIns="468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600"/>
              </a:spcBef>
            </a:pPr>
            <a:endParaRPr lang="en-IN" dirty="0" err="1">
              <a:solidFill>
                <a:schemeClr val="tx1"/>
              </a:solidFill>
            </a:endParaRPr>
          </a:p>
        </p:txBody>
      </p:sp>
      <p:sp>
        <p:nvSpPr>
          <p:cNvPr id="46" name="Freeform: Shape 45">
            <a:extLst>
              <a:ext uri="{FF2B5EF4-FFF2-40B4-BE49-F238E27FC236}">
                <a16:creationId xmlns:a16="http://schemas.microsoft.com/office/drawing/2014/main" id="{DB6ACA0F-CC8E-D78D-C949-53B02EF629A0}"/>
              </a:ext>
            </a:extLst>
          </p:cNvPr>
          <p:cNvSpPr/>
          <p:nvPr/>
        </p:nvSpPr>
        <p:spPr>
          <a:xfrm>
            <a:off x="5693026" y="1371108"/>
            <a:ext cx="470030" cy="488547"/>
          </a:xfrm>
          <a:custGeom>
            <a:avLst/>
            <a:gdLst>
              <a:gd name="connsiteX0" fmla="*/ 638 w 470030"/>
              <a:gd name="connsiteY0" fmla="*/ 492 h 488547"/>
              <a:gd name="connsiteX1" fmla="*/ 31118 w 470030"/>
              <a:gd name="connsiteY1" fmla="*/ 24876 h 488547"/>
              <a:gd name="connsiteX2" fmla="*/ 67694 w 470030"/>
              <a:gd name="connsiteY2" fmla="*/ 37068 h 488547"/>
              <a:gd name="connsiteX3" fmla="*/ 85982 w 470030"/>
              <a:gd name="connsiteY3" fmla="*/ 49260 h 488547"/>
              <a:gd name="connsiteX4" fmla="*/ 116462 w 470030"/>
              <a:gd name="connsiteY4" fmla="*/ 85836 h 488547"/>
              <a:gd name="connsiteX5" fmla="*/ 153038 w 470030"/>
              <a:gd name="connsiteY5" fmla="*/ 110220 h 488547"/>
              <a:gd name="connsiteX6" fmla="*/ 171326 w 470030"/>
              <a:gd name="connsiteY6" fmla="*/ 128508 h 488547"/>
              <a:gd name="connsiteX7" fmla="*/ 195710 w 470030"/>
              <a:gd name="connsiteY7" fmla="*/ 146796 h 488547"/>
              <a:gd name="connsiteX8" fmla="*/ 226190 w 470030"/>
              <a:gd name="connsiteY8" fmla="*/ 183372 h 488547"/>
              <a:gd name="connsiteX9" fmla="*/ 244478 w 470030"/>
              <a:gd name="connsiteY9" fmla="*/ 195564 h 488547"/>
              <a:gd name="connsiteX10" fmla="*/ 262766 w 470030"/>
              <a:gd name="connsiteY10" fmla="*/ 213852 h 488547"/>
              <a:gd name="connsiteX11" fmla="*/ 317630 w 470030"/>
              <a:gd name="connsiteY11" fmla="*/ 262620 h 488547"/>
              <a:gd name="connsiteX12" fmla="*/ 366398 w 470030"/>
              <a:gd name="connsiteY12" fmla="*/ 317484 h 488547"/>
              <a:gd name="connsiteX13" fmla="*/ 384686 w 470030"/>
              <a:gd name="connsiteY13" fmla="*/ 335772 h 488547"/>
              <a:gd name="connsiteX14" fmla="*/ 402974 w 470030"/>
              <a:gd name="connsiteY14" fmla="*/ 360156 h 488547"/>
              <a:gd name="connsiteX15" fmla="*/ 439550 w 470030"/>
              <a:gd name="connsiteY15" fmla="*/ 396732 h 488547"/>
              <a:gd name="connsiteX16" fmla="*/ 445646 w 470030"/>
              <a:gd name="connsiteY16" fmla="*/ 415020 h 488547"/>
              <a:gd name="connsiteX17" fmla="*/ 470030 w 470030"/>
              <a:gd name="connsiteY17" fmla="*/ 451596 h 488547"/>
              <a:gd name="connsiteX18" fmla="*/ 463934 w 470030"/>
              <a:gd name="connsiteY18" fmla="*/ 482076 h 488547"/>
              <a:gd name="connsiteX19" fmla="*/ 396878 w 470030"/>
              <a:gd name="connsiteY19" fmla="*/ 475980 h 488547"/>
              <a:gd name="connsiteX20" fmla="*/ 348110 w 470030"/>
              <a:gd name="connsiteY20" fmla="*/ 433308 h 488547"/>
              <a:gd name="connsiteX21" fmla="*/ 317630 w 470030"/>
              <a:gd name="connsiteY21" fmla="*/ 390636 h 488547"/>
              <a:gd name="connsiteX22" fmla="*/ 299342 w 470030"/>
              <a:gd name="connsiteY22" fmla="*/ 378444 h 488547"/>
              <a:gd name="connsiteX23" fmla="*/ 274958 w 470030"/>
              <a:gd name="connsiteY23" fmla="*/ 354060 h 488547"/>
              <a:gd name="connsiteX24" fmla="*/ 262766 w 470030"/>
              <a:gd name="connsiteY24" fmla="*/ 335772 h 488547"/>
              <a:gd name="connsiteX25" fmla="*/ 244478 w 470030"/>
              <a:gd name="connsiteY25" fmla="*/ 329676 h 488547"/>
              <a:gd name="connsiteX26" fmla="*/ 220094 w 470030"/>
              <a:gd name="connsiteY26" fmla="*/ 299196 h 488547"/>
              <a:gd name="connsiteX27" fmla="*/ 201806 w 470030"/>
              <a:gd name="connsiteY27" fmla="*/ 274812 h 488547"/>
              <a:gd name="connsiteX28" fmla="*/ 189614 w 470030"/>
              <a:gd name="connsiteY28" fmla="*/ 256524 h 488547"/>
              <a:gd name="connsiteX29" fmla="*/ 159134 w 470030"/>
              <a:gd name="connsiteY29" fmla="*/ 232140 h 488547"/>
              <a:gd name="connsiteX30" fmla="*/ 140846 w 470030"/>
              <a:gd name="connsiteY30" fmla="*/ 207756 h 488547"/>
              <a:gd name="connsiteX31" fmla="*/ 122558 w 470030"/>
              <a:gd name="connsiteY31" fmla="*/ 195564 h 488547"/>
              <a:gd name="connsiteX32" fmla="*/ 79886 w 470030"/>
              <a:gd name="connsiteY32" fmla="*/ 152892 h 488547"/>
              <a:gd name="connsiteX33" fmla="*/ 37214 w 470030"/>
              <a:gd name="connsiteY33" fmla="*/ 104124 h 488547"/>
              <a:gd name="connsiteX34" fmla="*/ 12830 w 470030"/>
              <a:gd name="connsiteY34" fmla="*/ 49260 h 488547"/>
              <a:gd name="connsiteX35" fmla="*/ 638 w 470030"/>
              <a:gd name="connsiteY35" fmla="*/ 492 h 4885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</a:cxnLst>
            <a:rect l="l" t="t" r="r" b="b"/>
            <a:pathLst>
              <a:path w="470030" h="488547">
                <a:moveTo>
                  <a:pt x="638" y="492"/>
                </a:moveTo>
                <a:cubicBezTo>
                  <a:pt x="3686" y="-3572"/>
                  <a:pt x="19696" y="18646"/>
                  <a:pt x="31118" y="24876"/>
                </a:cubicBezTo>
                <a:cubicBezTo>
                  <a:pt x="42400" y="31030"/>
                  <a:pt x="57001" y="29939"/>
                  <a:pt x="67694" y="37068"/>
                </a:cubicBezTo>
                <a:lnTo>
                  <a:pt x="85982" y="49260"/>
                </a:lnTo>
                <a:cubicBezTo>
                  <a:pt x="96819" y="65516"/>
                  <a:pt x="100215" y="73199"/>
                  <a:pt x="116462" y="85836"/>
                </a:cubicBezTo>
                <a:cubicBezTo>
                  <a:pt x="128028" y="94832"/>
                  <a:pt x="142677" y="99859"/>
                  <a:pt x="153038" y="110220"/>
                </a:cubicBezTo>
                <a:cubicBezTo>
                  <a:pt x="159134" y="116316"/>
                  <a:pt x="164780" y="122897"/>
                  <a:pt x="171326" y="128508"/>
                </a:cubicBezTo>
                <a:cubicBezTo>
                  <a:pt x="179040" y="135120"/>
                  <a:pt x="188526" y="139612"/>
                  <a:pt x="195710" y="146796"/>
                </a:cubicBezTo>
                <a:cubicBezTo>
                  <a:pt x="243662" y="194748"/>
                  <a:pt x="166270" y="133439"/>
                  <a:pt x="226190" y="183372"/>
                </a:cubicBezTo>
                <a:cubicBezTo>
                  <a:pt x="231818" y="188062"/>
                  <a:pt x="238850" y="190874"/>
                  <a:pt x="244478" y="195564"/>
                </a:cubicBezTo>
                <a:cubicBezTo>
                  <a:pt x="251101" y="201083"/>
                  <a:pt x="256143" y="208333"/>
                  <a:pt x="262766" y="213852"/>
                </a:cubicBezTo>
                <a:cubicBezTo>
                  <a:pt x="290252" y="236757"/>
                  <a:pt x="287991" y="218161"/>
                  <a:pt x="317630" y="262620"/>
                </a:cubicBezTo>
                <a:cubicBezTo>
                  <a:pt x="339386" y="295254"/>
                  <a:pt x="324641" y="275727"/>
                  <a:pt x="366398" y="317484"/>
                </a:cubicBezTo>
                <a:cubicBezTo>
                  <a:pt x="372494" y="323580"/>
                  <a:pt x="379513" y="328875"/>
                  <a:pt x="384686" y="335772"/>
                </a:cubicBezTo>
                <a:cubicBezTo>
                  <a:pt x="390782" y="343900"/>
                  <a:pt x="395790" y="352972"/>
                  <a:pt x="402974" y="360156"/>
                </a:cubicBezTo>
                <a:cubicBezTo>
                  <a:pt x="456457" y="413639"/>
                  <a:pt x="379782" y="317042"/>
                  <a:pt x="439550" y="396732"/>
                </a:cubicBezTo>
                <a:cubicBezTo>
                  <a:pt x="441582" y="402828"/>
                  <a:pt x="442525" y="409403"/>
                  <a:pt x="445646" y="415020"/>
                </a:cubicBezTo>
                <a:cubicBezTo>
                  <a:pt x="452762" y="427829"/>
                  <a:pt x="470030" y="451596"/>
                  <a:pt x="470030" y="451596"/>
                </a:cubicBezTo>
                <a:cubicBezTo>
                  <a:pt x="467998" y="461756"/>
                  <a:pt x="470567" y="474116"/>
                  <a:pt x="463934" y="482076"/>
                </a:cubicBezTo>
                <a:cubicBezTo>
                  <a:pt x="449967" y="498837"/>
                  <a:pt x="403873" y="477978"/>
                  <a:pt x="396878" y="475980"/>
                </a:cubicBezTo>
                <a:cubicBezTo>
                  <a:pt x="372090" y="459455"/>
                  <a:pt x="373072" y="461836"/>
                  <a:pt x="348110" y="433308"/>
                </a:cubicBezTo>
                <a:cubicBezTo>
                  <a:pt x="323881" y="405617"/>
                  <a:pt x="349191" y="422197"/>
                  <a:pt x="317630" y="390636"/>
                </a:cubicBezTo>
                <a:cubicBezTo>
                  <a:pt x="312449" y="385455"/>
                  <a:pt x="304905" y="383212"/>
                  <a:pt x="299342" y="378444"/>
                </a:cubicBezTo>
                <a:cubicBezTo>
                  <a:pt x="290615" y="370963"/>
                  <a:pt x="282439" y="362787"/>
                  <a:pt x="274958" y="354060"/>
                </a:cubicBezTo>
                <a:cubicBezTo>
                  <a:pt x="270190" y="348497"/>
                  <a:pt x="268487" y="340349"/>
                  <a:pt x="262766" y="335772"/>
                </a:cubicBezTo>
                <a:cubicBezTo>
                  <a:pt x="257748" y="331758"/>
                  <a:pt x="250574" y="331708"/>
                  <a:pt x="244478" y="329676"/>
                </a:cubicBezTo>
                <a:cubicBezTo>
                  <a:pt x="232610" y="294073"/>
                  <a:pt x="247668" y="326770"/>
                  <a:pt x="220094" y="299196"/>
                </a:cubicBezTo>
                <a:cubicBezTo>
                  <a:pt x="212910" y="292012"/>
                  <a:pt x="207711" y="283080"/>
                  <a:pt x="201806" y="274812"/>
                </a:cubicBezTo>
                <a:cubicBezTo>
                  <a:pt x="197548" y="268850"/>
                  <a:pt x="194795" y="261705"/>
                  <a:pt x="189614" y="256524"/>
                </a:cubicBezTo>
                <a:cubicBezTo>
                  <a:pt x="180414" y="247324"/>
                  <a:pt x="168334" y="241340"/>
                  <a:pt x="159134" y="232140"/>
                </a:cubicBezTo>
                <a:cubicBezTo>
                  <a:pt x="151950" y="224956"/>
                  <a:pt x="148030" y="214940"/>
                  <a:pt x="140846" y="207756"/>
                </a:cubicBezTo>
                <a:cubicBezTo>
                  <a:pt x="135665" y="202575"/>
                  <a:pt x="127739" y="200745"/>
                  <a:pt x="122558" y="195564"/>
                </a:cubicBezTo>
                <a:cubicBezTo>
                  <a:pt x="65662" y="138668"/>
                  <a:pt x="144910" y="201660"/>
                  <a:pt x="79886" y="152892"/>
                </a:cubicBezTo>
                <a:cubicBezTo>
                  <a:pt x="41562" y="89018"/>
                  <a:pt x="83775" y="150685"/>
                  <a:pt x="37214" y="104124"/>
                </a:cubicBezTo>
                <a:cubicBezTo>
                  <a:pt x="22723" y="89633"/>
                  <a:pt x="18866" y="67368"/>
                  <a:pt x="12830" y="49260"/>
                </a:cubicBezTo>
                <a:cubicBezTo>
                  <a:pt x="6091" y="29044"/>
                  <a:pt x="-2410" y="4556"/>
                  <a:pt x="638" y="49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0000" tIns="46800" rIns="90000" bIns="468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600"/>
              </a:spcBef>
            </a:pPr>
            <a:endParaRPr lang="en-IN" dirty="0" err="1">
              <a:solidFill>
                <a:schemeClr val="tx1"/>
              </a:solidFill>
            </a:endParaRPr>
          </a:p>
        </p:txBody>
      </p:sp>
      <p:sp>
        <p:nvSpPr>
          <p:cNvPr id="47" name="Freeform: Shape 46">
            <a:extLst>
              <a:ext uri="{FF2B5EF4-FFF2-40B4-BE49-F238E27FC236}">
                <a16:creationId xmlns:a16="http://schemas.microsoft.com/office/drawing/2014/main" id="{B367F223-8AC3-C69F-6C2B-1947298967FA}"/>
              </a:ext>
            </a:extLst>
          </p:cNvPr>
          <p:cNvSpPr/>
          <p:nvPr/>
        </p:nvSpPr>
        <p:spPr>
          <a:xfrm>
            <a:off x="5647011" y="4711131"/>
            <a:ext cx="564814" cy="660163"/>
          </a:xfrm>
          <a:custGeom>
            <a:avLst/>
            <a:gdLst>
              <a:gd name="connsiteX0" fmla="*/ 401 w 512465"/>
              <a:gd name="connsiteY0" fmla="*/ 591312 h 592030"/>
              <a:gd name="connsiteX1" fmla="*/ 55265 w 512465"/>
              <a:gd name="connsiteY1" fmla="*/ 579120 h 592030"/>
              <a:gd name="connsiteX2" fmla="*/ 91841 w 512465"/>
              <a:gd name="connsiteY2" fmla="*/ 566928 h 592030"/>
              <a:gd name="connsiteX3" fmla="*/ 116225 w 512465"/>
              <a:gd name="connsiteY3" fmla="*/ 548640 h 592030"/>
              <a:gd name="connsiteX4" fmla="*/ 128417 w 512465"/>
              <a:gd name="connsiteY4" fmla="*/ 530352 h 592030"/>
              <a:gd name="connsiteX5" fmla="*/ 158897 w 512465"/>
              <a:gd name="connsiteY5" fmla="*/ 524256 h 592030"/>
              <a:gd name="connsiteX6" fmla="*/ 207665 w 512465"/>
              <a:gd name="connsiteY6" fmla="*/ 505968 h 592030"/>
              <a:gd name="connsiteX7" fmla="*/ 219857 w 512465"/>
              <a:gd name="connsiteY7" fmla="*/ 487680 h 592030"/>
              <a:gd name="connsiteX8" fmla="*/ 244241 w 512465"/>
              <a:gd name="connsiteY8" fmla="*/ 426720 h 592030"/>
              <a:gd name="connsiteX9" fmla="*/ 262529 w 512465"/>
              <a:gd name="connsiteY9" fmla="*/ 414528 h 592030"/>
              <a:gd name="connsiteX10" fmla="*/ 293009 w 512465"/>
              <a:gd name="connsiteY10" fmla="*/ 377952 h 592030"/>
              <a:gd name="connsiteX11" fmla="*/ 311297 w 512465"/>
              <a:gd name="connsiteY11" fmla="*/ 353568 h 592030"/>
              <a:gd name="connsiteX12" fmla="*/ 335681 w 512465"/>
              <a:gd name="connsiteY12" fmla="*/ 329184 h 592030"/>
              <a:gd name="connsiteX13" fmla="*/ 347873 w 512465"/>
              <a:gd name="connsiteY13" fmla="*/ 310896 h 592030"/>
              <a:gd name="connsiteX14" fmla="*/ 384449 w 512465"/>
              <a:gd name="connsiteY14" fmla="*/ 274320 h 592030"/>
              <a:gd name="connsiteX15" fmla="*/ 402737 w 512465"/>
              <a:gd name="connsiteY15" fmla="*/ 256032 h 592030"/>
              <a:gd name="connsiteX16" fmla="*/ 445409 w 512465"/>
              <a:gd name="connsiteY16" fmla="*/ 213360 h 592030"/>
              <a:gd name="connsiteX17" fmla="*/ 481985 w 512465"/>
              <a:gd name="connsiteY17" fmla="*/ 188976 h 592030"/>
              <a:gd name="connsiteX18" fmla="*/ 488081 w 512465"/>
              <a:gd name="connsiteY18" fmla="*/ 170688 h 592030"/>
              <a:gd name="connsiteX19" fmla="*/ 512465 w 512465"/>
              <a:gd name="connsiteY19" fmla="*/ 128016 h 592030"/>
              <a:gd name="connsiteX20" fmla="*/ 500273 w 512465"/>
              <a:gd name="connsiteY20" fmla="*/ 6096 h 592030"/>
              <a:gd name="connsiteX21" fmla="*/ 481985 w 512465"/>
              <a:gd name="connsiteY21" fmla="*/ 0 h 592030"/>
              <a:gd name="connsiteX22" fmla="*/ 372257 w 512465"/>
              <a:gd name="connsiteY22" fmla="*/ 6096 h 592030"/>
              <a:gd name="connsiteX23" fmla="*/ 329585 w 512465"/>
              <a:gd name="connsiteY23" fmla="*/ 30480 h 592030"/>
              <a:gd name="connsiteX24" fmla="*/ 274721 w 512465"/>
              <a:gd name="connsiteY24" fmla="*/ 54864 h 592030"/>
              <a:gd name="connsiteX25" fmla="*/ 164993 w 512465"/>
              <a:gd name="connsiteY25" fmla="*/ 134112 h 592030"/>
              <a:gd name="connsiteX26" fmla="*/ 67457 w 512465"/>
              <a:gd name="connsiteY26" fmla="*/ 225552 h 592030"/>
              <a:gd name="connsiteX27" fmla="*/ 18689 w 512465"/>
              <a:gd name="connsiteY27" fmla="*/ 341376 h 592030"/>
              <a:gd name="connsiteX28" fmla="*/ 12593 w 512465"/>
              <a:gd name="connsiteY28" fmla="*/ 536448 h 592030"/>
              <a:gd name="connsiteX29" fmla="*/ 18689 w 512465"/>
              <a:gd name="connsiteY29" fmla="*/ 554736 h 592030"/>
              <a:gd name="connsiteX30" fmla="*/ 30881 w 512465"/>
              <a:gd name="connsiteY30" fmla="*/ 573024 h 592030"/>
              <a:gd name="connsiteX31" fmla="*/ 401 w 512465"/>
              <a:gd name="connsiteY31" fmla="*/ 591312 h 5920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</a:cxnLst>
            <a:rect l="l" t="t" r="r" b="b"/>
            <a:pathLst>
              <a:path w="512465" h="592030">
                <a:moveTo>
                  <a:pt x="401" y="591312"/>
                </a:moveTo>
                <a:cubicBezTo>
                  <a:pt x="4465" y="592328"/>
                  <a:pt x="38047" y="584285"/>
                  <a:pt x="55265" y="579120"/>
                </a:cubicBezTo>
                <a:cubicBezTo>
                  <a:pt x="67575" y="575427"/>
                  <a:pt x="91841" y="566928"/>
                  <a:pt x="91841" y="566928"/>
                </a:cubicBezTo>
                <a:cubicBezTo>
                  <a:pt x="99969" y="560832"/>
                  <a:pt x="109041" y="555824"/>
                  <a:pt x="116225" y="548640"/>
                </a:cubicBezTo>
                <a:cubicBezTo>
                  <a:pt x="121406" y="543459"/>
                  <a:pt x="122056" y="533987"/>
                  <a:pt x="128417" y="530352"/>
                </a:cubicBezTo>
                <a:cubicBezTo>
                  <a:pt x="137413" y="525211"/>
                  <a:pt x="148783" y="526504"/>
                  <a:pt x="158897" y="524256"/>
                </a:cubicBezTo>
                <a:cubicBezTo>
                  <a:pt x="188777" y="517616"/>
                  <a:pt x="179388" y="520106"/>
                  <a:pt x="207665" y="505968"/>
                </a:cubicBezTo>
                <a:cubicBezTo>
                  <a:pt x="211729" y="499872"/>
                  <a:pt x="217136" y="494482"/>
                  <a:pt x="219857" y="487680"/>
                </a:cubicBezTo>
                <a:cubicBezTo>
                  <a:pt x="229803" y="462815"/>
                  <a:pt x="225952" y="445009"/>
                  <a:pt x="244241" y="426720"/>
                </a:cubicBezTo>
                <a:cubicBezTo>
                  <a:pt x="249422" y="421539"/>
                  <a:pt x="256433" y="418592"/>
                  <a:pt x="262529" y="414528"/>
                </a:cubicBezTo>
                <a:cubicBezTo>
                  <a:pt x="289475" y="374108"/>
                  <a:pt x="257806" y="419022"/>
                  <a:pt x="293009" y="377952"/>
                </a:cubicBezTo>
                <a:cubicBezTo>
                  <a:pt x="299621" y="370238"/>
                  <a:pt x="304607" y="361214"/>
                  <a:pt x="311297" y="353568"/>
                </a:cubicBezTo>
                <a:cubicBezTo>
                  <a:pt x="318866" y="344917"/>
                  <a:pt x="328200" y="337911"/>
                  <a:pt x="335681" y="329184"/>
                </a:cubicBezTo>
                <a:cubicBezTo>
                  <a:pt x="340449" y="323621"/>
                  <a:pt x="343006" y="316372"/>
                  <a:pt x="347873" y="310896"/>
                </a:cubicBezTo>
                <a:cubicBezTo>
                  <a:pt x="359328" y="298009"/>
                  <a:pt x="372257" y="286512"/>
                  <a:pt x="384449" y="274320"/>
                </a:cubicBezTo>
                <a:cubicBezTo>
                  <a:pt x="390545" y="268224"/>
                  <a:pt x="397564" y="262929"/>
                  <a:pt x="402737" y="256032"/>
                </a:cubicBezTo>
                <a:cubicBezTo>
                  <a:pt x="434436" y="213766"/>
                  <a:pt x="405582" y="247498"/>
                  <a:pt x="445409" y="213360"/>
                </a:cubicBezTo>
                <a:cubicBezTo>
                  <a:pt x="474468" y="188453"/>
                  <a:pt x="450877" y="199345"/>
                  <a:pt x="481985" y="188976"/>
                </a:cubicBezTo>
                <a:cubicBezTo>
                  <a:pt x="484017" y="182880"/>
                  <a:pt x="484893" y="176267"/>
                  <a:pt x="488081" y="170688"/>
                </a:cubicBezTo>
                <a:cubicBezTo>
                  <a:pt x="517606" y="119020"/>
                  <a:pt x="498488" y="169947"/>
                  <a:pt x="512465" y="128016"/>
                </a:cubicBezTo>
                <a:cubicBezTo>
                  <a:pt x="508401" y="87376"/>
                  <a:pt x="509733" y="45828"/>
                  <a:pt x="500273" y="6096"/>
                </a:cubicBezTo>
                <a:cubicBezTo>
                  <a:pt x="498785" y="-155"/>
                  <a:pt x="488411" y="0"/>
                  <a:pt x="481985" y="0"/>
                </a:cubicBezTo>
                <a:cubicBezTo>
                  <a:pt x="445353" y="0"/>
                  <a:pt x="408833" y="4064"/>
                  <a:pt x="372257" y="6096"/>
                </a:cubicBezTo>
                <a:cubicBezTo>
                  <a:pt x="358033" y="14224"/>
                  <a:pt x="344238" y="23154"/>
                  <a:pt x="329585" y="30480"/>
                </a:cubicBezTo>
                <a:cubicBezTo>
                  <a:pt x="311685" y="39430"/>
                  <a:pt x="291657" y="44201"/>
                  <a:pt x="274721" y="54864"/>
                </a:cubicBezTo>
                <a:cubicBezTo>
                  <a:pt x="236541" y="78903"/>
                  <a:pt x="200607" y="106412"/>
                  <a:pt x="164993" y="134112"/>
                </a:cubicBezTo>
                <a:cubicBezTo>
                  <a:pt x="119707" y="169334"/>
                  <a:pt x="100559" y="178658"/>
                  <a:pt x="67457" y="225552"/>
                </a:cubicBezTo>
                <a:cubicBezTo>
                  <a:pt x="34831" y="271772"/>
                  <a:pt x="34717" y="287948"/>
                  <a:pt x="18689" y="341376"/>
                </a:cubicBezTo>
                <a:cubicBezTo>
                  <a:pt x="8135" y="446919"/>
                  <a:pt x="665" y="446992"/>
                  <a:pt x="12593" y="536448"/>
                </a:cubicBezTo>
                <a:cubicBezTo>
                  <a:pt x="13442" y="542817"/>
                  <a:pt x="15815" y="548989"/>
                  <a:pt x="18689" y="554736"/>
                </a:cubicBezTo>
                <a:cubicBezTo>
                  <a:pt x="21966" y="561289"/>
                  <a:pt x="26817" y="566928"/>
                  <a:pt x="30881" y="573024"/>
                </a:cubicBezTo>
                <a:cubicBezTo>
                  <a:pt x="24292" y="599379"/>
                  <a:pt x="-3663" y="590296"/>
                  <a:pt x="401" y="59131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0000" tIns="46800" rIns="90000" bIns="468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600"/>
              </a:spcBef>
            </a:pPr>
            <a:endParaRPr lang="en-IN" dirty="0" err="1">
              <a:solidFill>
                <a:schemeClr val="tx1"/>
              </a:solidFill>
            </a:endParaRPr>
          </a:p>
        </p:txBody>
      </p:sp>
      <p:sp>
        <p:nvSpPr>
          <p:cNvPr id="48" name="Freeform: Shape 47">
            <a:extLst>
              <a:ext uri="{FF2B5EF4-FFF2-40B4-BE49-F238E27FC236}">
                <a16:creationId xmlns:a16="http://schemas.microsoft.com/office/drawing/2014/main" id="{D0EEAB01-270B-4D12-01C4-511FB8AB8322}"/>
              </a:ext>
            </a:extLst>
          </p:cNvPr>
          <p:cNvSpPr/>
          <p:nvPr/>
        </p:nvSpPr>
        <p:spPr>
          <a:xfrm>
            <a:off x="5765465" y="4851848"/>
            <a:ext cx="471665" cy="506541"/>
          </a:xfrm>
          <a:custGeom>
            <a:avLst/>
            <a:gdLst>
              <a:gd name="connsiteX0" fmla="*/ 1351 w 471665"/>
              <a:gd name="connsiteY0" fmla="*/ 500440 h 506541"/>
              <a:gd name="connsiteX1" fmla="*/ 31831 w 471665"/>
              <a:gd name="connsiteY1" fmla="*/ 494344 h 506541"/>
              <a:gd name="connsiteX2" fmla="*/ 68407 w 471665"/>
              <a:gd name="connsiteY2" fmla="*/ 463864 h 506541"/>
              <a:gd name="connsiteX3" fmla="*/ 104983 w 471665"/>
              <a:gd name="connsiteY3" fmla="*/ 433384 h 506541"/>
              <a:gd name="connsiteX4" fmla="*/ 117175 w 471665"/>
              <a:gd name="connsiteY4" fmla="*/ 409000 h 506541"/>
              <a:gd name="connsiteX5" fmla="*/ 141559 w 471665"/>
              <a:gd name="connsiteY5" fmla="*/ 396808 h 506541"/>
              <a:gd name="connsiteX6" fmla="*/ 159847 w 471665"/>
              <a:gd name="connsiteY6" fmla="*/ 384616 h 506541"/>
              <a:gd name="connsiteX7" fmla="*/ 196423 w 471665"/>
              <a:gd name="connsiteY7" fmla="*/ 348040 h 506541"/>
              <a:gd name="connsiteX8" fmla="*/ 232999 w 471665"/>
              <a:gd name="connsiteY8" fmla="*/ 317560 h 506541"/>
              <a:gd name="connsiteX9" fmla="*/ 257383 w 471665"/>
              <a:gd name="connsiteY9" fmla="*/ 274888 h 506541"/>
              <a:gd name="connsiteX10" fmla="*/ 312247 w 471665"/>
              <a:gd name="connsiteY10" fmla="*/ 226120 h 506541"/>
              <a:gd name="connsiteX11" fmla="*/ 318343 w 471665"/>
              <a:gd name="connsiteY11" fmla="*/ 207832 h 506541"/>
              <a:gd name="connsiteX12" fmla="*/ 354919 w 471665"/>
              <a:gd name="connsiteY12" fmla="*/ 177352 h 506541"/>
              <a:gd name="connsiteX13" fmla="*/ 379303 w 471665"/>
              <a:gd name="connsiteY13" fmla="*/ 146872 h 506541"/>
              <a:gd name="connsiteX14" fmla="*/ 415879 w 471665"/>
              <a:gd name="connsiteY14" fmla="*/ 110296 h 506541"/>
              <a:gd name="connsiteX15" fmla="*/ 434167 w 471665"/>
              <a:gd name="connsiteY15" fmla="*/ 73720 h 506541"/>
              <a:gd name="connsiteX16" fmla="*/ 440263 w 471665"/>
              <a:gd name="connsiteY16" fmla="*/ 37144 h 506541"/>
              <a:gd name="connsiteX17" fmla="*/ 458551 w 471665"/>
              <a:gd name="connsiteY17" fmla="*/ 24952 h 506541"/>
              <a:gd name="connsiteX18" fmla="*/ 470743 w 471665"/>
              <a:gd name="connsiteY18" fmla="*/ 6664 h 506541"/>
              <a:gd name="connsiteX19" fmla="*/ 440263 w 471665"/>
              <a:gd name="connsiteY19" fmla="*/ 568 h 506541"/>
              <a:gd name="connsiteX20" fmla="*/ 379303 w 471665"/>
              <a:gd name="connsiteY20" fmla="*/ 12760 h 506541"/>
              <a:gd name="connsiteX21" fmla="*/ 336631 w 471665"/>
              <a:gd name="connsiteY21" fmla="*/ 43240 h 506541"/>
              <a:gd name="connsiteX22" fmla="*/ 251287 w 471665"/>
              <a:gd name="connsiteY22" fmla="*/ 92008 h 506541"/>
              <a:gd name="connsiteX23" fmla="*/ 153751 w 471665"/>
              <a:gd name="connsiteY23" fmla="*/ 183448 h 506541"/>
              <a:gd name="connsiteX24" fmla="*/ 117175 w 471665"/>
              <a:gd name="connsiteY24" fmla="*/ 220024 h 506541"/>
              <a:gd name="connsiteX25" fmla="*/ 92791 w 471665"/>
              <a:gd name="connsiteY25" fmla="*/ 244408 h 506541"/>
              <a:gd name="connsiteX26" fmla="*/ 50119 w 471665"/>
              <a:gd name="connsiteY26" fmla="*/ 317560 h 506541"/>
              <a:gd name="connsiteX27" fmla="*/ 25735 w 471665"/>
              <a:gd name="connsiteY27" fmla="*/ 360232 h 506541"/>
              <a:gd name="connsiteX28" fmla="*/ 19639 w 471665"/>
              <a:gd name="connsiteY28" fmla="*/ 384616 h 506541"/>
              <a:gd name="connsiteX29" fmla="*/ 7447 w 471665"/>
              <a:gd name="connsiteY29" fmla="*/ 409000 h 506541"/>
              <a:gd name="connsiteX30" fmla="*/ 1351 w 471665"/>
              <a:gd name="connsiteY30" fmla="*/ 500440 h 5065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</a:cxnLst>
            <a:rect l="l" t="t" r="r" b="b"/>
            <a:pathLst>
              <a:path w="471665" h="506541">
                <a:moveTo>
                  <a:pt x="1351" y="500440"/>
                </a:moveTo>
                <a:cubicBezTo>
                  <a:pt x="5415" y="514664"/>
                  <a:pt x="23400" y="500366"/>
                  <a:pt x="31831" y="494344"/>
                </a:cubicBezTo>
                <a:cubicBezTo>
                  <a:pt x="91908" y="451432"/>
                  <a:pt x="-5487" y="482337"/>
                  <a:pt x="68407" y="463864"/>
                </a:cubicBezTo>
                <a:cubicBezTo>
                  <a:pt x="82989" y="454142"/>
                  <a:pt x="94315" y="448319"/>
                  <a:pt x="104983" y="433384"/>
                </a:cubicBezTo>
                <a:cubicBezTo>
                  <a:pt x="110265" y="425989"/>
                  <a:pt x="110749" y="415426"/>
                  <a:pt x="117175" y="409000"/>
                </a:cubicBezTo>
                <a:cubicBezTo>
                  <a:pt x="123601" y="402574"/>
                  <a:pt x="133669" y="401317"/>
                  <a:pt x="141559" y="396808"/>
                </a:cubicBezTo>
                <a:cubicBezTo>
                  <a:pt x="147920" y="393173"/>
                  <a:pt x="153885" y="388874"/>
                  <a:pt x="159847" y="384616"/>
                </a:cubicBezTo>
                <a:cubicBezTo>
                  <a:pt x="229576" y="334809"/>
                  <a:pt x="150123" y="394340"/>
                  <a:pt x="196423" y="348040"/>
                </a:cubicBezTo>
                <a:cubicBezTo>
                  <a:pt x="223157" y="321306"/>
                  <a:pt x="208032" y="352513"/>
                  <a:pt x="232999" y="317560"/>
                </a:cubicBezTo>
                <a:cubicBezTo>
                  <a:pt x="253070" y="289461"/>
                  <a:pt x="236440" y="298449"/>
                  <a:pt x="257383" y="274888"/>
                </a:cubicBezTo>
                <a:cubicBezTo>
                  <a:pt x="287751" y="240724"/>
                  <a:pt x="284452" y="244650"/>
                  <a:pt x="312247" y="226120"/>
                </a:cubicBezTo>
                <a:cubicBezTo>
                  <a:pt x="314279" y="220024"/>
                  <a:pt x="314779" y="213179"/>
                  <a:pt x="318343" y="207832"/>
                </a:cubicBezTo>
                <a:cubicBezTo>
                  <a:pt x="327730" y="193751"/>
                  <a:pt x="341425" y="186348"/>
                  <a:pt x="354919" y="177352"/>
                </a:cubicBezTo>
                <a:cubicBezTo>
                  <a:pt x="366787" y="141749"/>
                  <a:pt x="351729" y="174446"/>
                  <a:pt x="379303" y="146872"/>
                </a:cubicBezTo>
                <a:cubicBezTo>
                  <a:pt x="424671" y="101504"/>
                  <a:pt x="372780" y="139029"/>
                  <a:pt x="415879" y="110296"/>
                </a:cubicBezTo>
                <a:cubicBezTo>
                  <a:pt x="426839" y="93856"/>
                  <a:pt x="429961" y="92649"/>
                  <a:pt x="434167" y="73720"/>
                </a:cubicBezTo>
                <a:cubicBezTo>
                  <a:pt x="436848" y="61654"/>
                  <a:pt x="434735" y="48199"/>
                  <a:pt x="440263" y="37144"/>
                </a:cubicBezTo>
                <a:cubicBezTo>
                  <a:pt x="443540" y="30591"/>
                  <a:pt x="452455" y="29016"/>
                  <a:pt x="458551" y="24952"/>
                </a:cubicBezTo>
                <a:cubicBezTo>
                  <a:pt x="462615" y="18856"/>
                  <a:pt x="475139" y="12525"/>
                  <a:pt x="470743" y="6664"/>
                </a:cubicBezTo>
                <a:cubicBezTo>
                  <a:pt x="464526" y="-1625"/>
                  <a:pt x="450601" y="-121"/>
                  <a:pt x="440263" y="568"/>
                </a:cubicBezTo>
                <a:cubicBezTo>
                  <a:pt x="419586" y="1946"/>
                  <a:pt x="399623" y="8696"/>
                  <a:pt x="379303" y="12760"/>
                </a:cubicBezTo>
                <a:cubicBezTo>
                  <a:pt x="365079" y="22920"/>
                  <a:pt x="351494" y="34039"/>
                  <a:pt x="336631" y="43240"/>
                </a:cubicBezTo>
                <a:cubicBezTo>
                  <a:pt x="308772" y="60486"/>
                  <a:pt x="276872" y="71540"/>
                  <a:pt x="251287" y="92008"/>
                </a:cubicBezTo>
                <a:cubicBezTo>
                  <a:pt x="196123" y="136139"/>
                  <a:pt x="230007" y="107192"/>
                  <a:pt x="153751" y="183448"/>
                </a:cubicBezTo>
                <a:lnTo>
                  <a:pt x="117175" y="220024"/>
                </a:lnTo>
                <a:cubicBezTo>
                  <a:pt x="109047" y="228152"/>
                  <a:pt x="97932" y="234127"/>
                  <a:pt x="92791" y="244408"/>
                </a:cubicBezTo>
                <a:cubicBezTo>
                  <a:pt x="53091" y="323807"/>
                  <a:pt x="98037" y="237697"/>
                  <a:pt x="50119" y="317560"/>
                </a:cubicBezTo>
                <a:cubicBezTo>
                  <a:pt x="3713" y="394903"/>
                  <a:pt x="67910" y="296970"/>
                  <a:pt x="25735" y="360232"/>
                </a:cubicBezTo>
                <a:cubicBezTo>
                  <a:pt x="23703" y="368360"/>
                  <a:pt x="22581" y="376771"/>
                  <a:pt x="19639" y="384616"/>
                </a:cubicBezTo>
                <a:cubicBezTo>
                  <a:pt x="16448" y="393125"/>
                  <a:pt x="7879" y="399923"/>
                  <a:pt x="7447" y="409000"/>
                </a:cubicBezTo>
                <a:cubicBezTo>
                  <a:pt x="3297" y="496143"/>
                  <a:pt x="-2713" y="486216"/>
                  <a:pt x="1351" y="50044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0000" tIns="46800" rIns="90000" bIns="468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600"/>
              </a:spcBef>
            </a:pPr>
            <a:endParaRPr lang="en-IN" dirty="0" err="1">
              <a:solidFill>
                <a:schemeClr val="tx1"/>
              </a:solidFill>
            </a:endParaRPr>
          </a:p>
        </p:txBody>
      </p:sp>
      <p:sp>
        <p:nvSpPr>
          <p:cNvPr id="49" name="Freeform: Shape 48">
            <a:extLst>
              <a:ext uri="{FF2B5EF4-FFF2-40B4-BE49-F238E27FC236}">
                <a16:creationId xmlns:a16="http://schemas.microsoft.com/office/drawing/2014/main" id="{24A53F1A-EBA9-1595-5BD9-3418FC8ADF63}"/>
              </a:ext>
            </a:extLst>
          </p:cNvPr>
          <p:cNvSpPr/>
          <p:nvPr/>
        </p:nvSpPr>
        <p:spPr>
          <a:xfrm>
            <a:off x="5781040" y="4874027"/>
            <a:ext cx="439420" cy="495533"/>
          </a:xfrm>
          <a:custGeom>
            <a:avLst/>
            <a:gdLst>
              <a:gd name="connsiteX0" fmla="*/ 2540 w 439420"/>
              <a:gd name="connsiteY0" fmla="*/ 495533 h 495533"/>
              <a:gd name="connsiteX1" fmla="*/ 10160 w 439420"/>
              <a:gd name="connsiteY1" fmla="*/ 482833 h 495533"/>
              <a:gd name="connsiteX2" fmla="*/ 20320 w 439420"/>
              <a:gd name="connsiteY2" fmla="*/ 475213 h 495533"/>
              <a:gd name="connsiteX3" fmla="*/ 27940 w 439420"/>
              <a:gd name="connsiteY3" fmla="*/ 467593 h 495533"/>
              <a:gd name="connsiteX4" fmla="*/ 50800 w 439420"/>
              <a:gd name="connsiteY4" fmla="*/ 452353 h 495533"/>
              <a:gd name="connsiteX5" fmla="*/ 58420 w 439420"/>
              <a:gd name="connsiteY5" fmla="*/ 447273 h 495533"/>
              <a:gd name="connsiteX6" fmla="*/ 78740 w 439420"/>
              <a:gd name="connsiteY6" fmla="*/ 439653 h 495533"/>
              <a:gd name="connsiteX7" fmla="*/ 91440 w 439420"/>
              <a:gd name="connsiteY7" fmla="*/ 424413 h 495533"/>
              <a:gd name="connsiteX8" fmla="*/ 99060 w 439420"/>
              <a:gd name="connsiteY8" fmla="*/ 416793 h 495533"/>
              <a:gd name="connsiteX9" fmla="*/ 114300 w 439420"/>
              <a:gd name="connsiteY9" fmla="*/ 404093 h 495533"/>
              <a:gd name="connsiteX10" fmla="*/ 127000 w 439420"/>
              <a:gd name="connsiteY10" fmla="*/ 388853 h 495533"/>
              <a:gd name="connsiteX11" fmla="*/ 134620 w 439420"/>
              <a:gd name="connsiteY11" fmla="*/ 386313 h 495533"/>
              <a:gd name="connsiteX12" fmla="*/ 142240 w 439420"/>
              <a:gd name="connsiteY12" fmla="*/ 378693 h 495533"/>
              <a:gd name="connsiteX13" fmla="*/ 152400 w 439420"/>
              <a:gd name="connsiteY13" fmla="*/ 363453 h 495533"/>
              <a:gd name="connsiteX14" fmla="*/ 160020 w 439420"/>
              <a:gd name="connsiteY14" fmla="*/ 360913 h 495533"/>
              <a:gd name="connsiteX15" fmla="*/ 162560 w 439420"/>
              <a:gd name="connsiteY15" fmla="*/ 353293 h 495533"/>
              <a:gd name="connsiteX16" fmla="*/ 177800 w 439420"/>
              <a:gd name="connsiteY16" fmla="*/ 335513 h 495533"/>
              <a:gd name="connsiteX17" fmla="*/ 193040 w 439420"/>
              <a:gd name="connsiteY17" fmla="*/ 325353 h 495533"/>
              <a:gd name="connsiteX18" fmla="*/ 200660 w 439420"/>
              <a:gd name="connsiteY18" fmla="*/ 317733 h 495533"/>
              <a:gd name="connsiteX19" fmla="*/ 210820 w 439420"/>
              <a:gd name="connsiteY19" fmla="*/ 312653 h 495533"/>
              <a:gd name="connsiteX20" fmla="*/ 231140 w 439420"/>
              <a:gd name="connsiteY20" fmla="*/ 289793 h 495533"/>
              <a:gd name="connsiteX21" fmla="*/ 233680 w 439420"/>
              <a:gd name="connsiteY21" fmla="*/ 279633 h 495533"/>
              <a:gd name="connsiteX22" fmla="*/ 251460 w 439420"/>
              <a:gd name="connsiteY22" fmla="*/ 261853 h 495533"/>
              <a:gd name="connsiteX23" fmla="*/ 259080 w 439420"/>
              <a:gd name="connsiteY23" fmla="*/ 254233 h 495533"/>
              <a:gd name="connsiteX24" fmla="*/ 269240 w 439420"/>
              <a:gd name="connsiteY24" fmla="*/ 246613 h 495533"/>
              <a:gd name="connsiteX25" fmla="*/ 274320 w 439420"/>
              <a:gd name="connsiteY25" fmla="*/ 238993 h 495533"/>
              <a:gd name="connsiteX26" fmla="*/ 281940 w 439420"/>
              <a:gd name="connsiteY26" fmla="*/ 233913 h 495533"/>
              <a:gd name="connsiteX27" fmla="*/ 289560 w 439420"/>
              <a:gd name="connsiteY27" fmla="*/ 226293 h 495533"/>
              <a:gd name="connsiteX28" fmla="*/ 299720 w 439420"/>
              <a:gd name="connsiteY28" fmla="*/ 211053 h 495533"/>
              <a:gd name="connsiteX29" fmla="*/ 304800 w 439420"/>
              <a:gd name="connsiteY29" fmla="*/ 200893 h 495533"/>
              <a:gd name="connsiteX30" fmla="*/ 322580 w 439420"/>
              <a:gd name="connsiteY30" fmla="*/ 183113 h 495533"/>
              <a:gd name="connsiteX31" fmla="*/ 330200 w 439420"/>
              <a:gd name="connsiteY31" fmla="*/ 175493 h 495533"/>
              <a:gd name="connsiteX32" fmla="*/ 340360 w 439420"/>
              <a:gd name="connsiteY32" fmla="*/ 155173 h 495533"/>
              <a:gd name="connsiteX33" fmla="*/ 347980 w 439420"/>
              <a:gd name="connsiteY33" fmla="*/ 147553 h 495533"/>
              <a:gd name="connsiteX34" fmla="*/ 360680 w 439420"/>
              <a:gd name="connsiteY34" fmla="*/ 132313 h 495533"/>
              <a:gd name="connsiteX35" fmla="*/ 370840 w 439420"/>
              <a:gd name="connsiteY35" fmla="*/ 117073 h 495533"/>
              <a:gd name="connsiteX36" fmla="*/ 381000 w 439420"/>
              <a:gd name="connsiteY36" fmla="*/ 101833 h 495533"/>
              <a:gd name="connsiteX37" fmla="*/ 388620 w 439420"/>
              <a:gd name="connsiteY37" fmla="*/ 94213 h 495533"/>
              <a:gd name="connsiteX38" fmla="*/ 393700 w 439420"/>
              <a:gd name="connsiteY38" fmla="*/ 86593 h 495533"/>
              <a:gd name="connsiteX39" fmla="*/ 401320 w 439420"/>
              <a:gd name="connsiteY39" fmla="*/ 81513 h 495533"/>
              <a:gd name="connsiteX40" fmla="*/ 403860 w 439420"/>
              <a:gd name="connsiteY40" fmla="*/ 73893 h 495533"/>
              <a:gd name="connsiteX41" fmla="*/ 419100 w 439420"/>
              <a:gd name="connsiteY41" fmla="*/ 61193 h 495533"/>
              <a:gd name="connsiteX42" fmla="*/ 424180 w 439420"/>
              <a:gd name="connsiteY42" fmla="*/ 53573 h 495533"/>
              <a:gd name="connsiteX43" fmla="*/ 439420 w 439420"/>
              <a:gd name="connsiteY43" fmla="*/ 38333 h 495533"/>
              <a:gd name="connsiteX44" fmla="*/ 436880 w 439420"/>
              <a:gd name="connsiteY44" fmla="*/ 7853 h 495533"/>
              <a:gd name="connsiteX45" fmla="*/ 391160 w 439420"/>
              <a:gd name="connsiteY45" fmla="*/ 2773 h 495533"/>
              <a:gd name="connsiteX46" fmla="*/ 337820 w 439420"/>
              <a:gd name="connsiteY46" fmla="*/ 30713 h 495533"/>
              <a:gd name="connsiteX47" fmla="*/ 314960 w 439420"/>
              <a:gd name="connsiteY47" fmla="*/ 40873 h 495533"/>
              <a:gd name="connsiteX48" fmla="*/ 254000 w 439420"/>
              <a:gd name="connsiteY48" fmla="*/ 81513 h 495533"/>
              <a:gd name="connsiteX49" fmla="*/ 172720 w 439420"/>
              <a:gd name="connsiteY49" fmla="*/ 147553 h 495533"/>
              <a:gd name="connsiteX50" fmla="*/ 144780 w 439420"/>
              <a:gd name="connsiteY50" fmla="*/ 172953 h 495533"/>
              <a:gd name="connsiteX51" fmla="*/ 119380 w 439420"/>
              <a:gd name="connsiteY51" fmla="*/ 195813 h 495533"/>
              <a:gd name="connsiteX52" fmla="*/ 101600 w 439420"/>
              <a:gd name="connsiteY52" fmla="*/ 216133 h 495533"/>
              <a:gd name="connsiteX53" fmla="*/ 91440 w 439420"/>
              <a:gd name="connsiteY53" fmla="*/ 231373 h 495533"/>
              <a:gd name="connsiteX54" fmla="*/ 50800 w 439420"/>
              <a:gd name="connsiteY54" fmla="*/ 279633 h 495533"/>
              <a:gd name="connsiteX55" fmla="*/ 27940 w 439420"/>
              <a:gd name="connsiteY55" fmla="*/ 325353 h 495533"/>
              <a:gd name="connsiteX56" fmla="*/ 20320 w 439420"/>
              <a:gd name="connsiteY56" fmla="*/ 355833 h 495533"/>
              <a:gd name="connsiteX57" fmla="*/ 17780 w 439420"/>
              <a:gd name="connsiteY57" fmla="*/ 371073 h 495533"/>
              <a:gd name="connsiteX58" fmla="*/ 12700 w 439420"/>
              <a:gd name="connsiteY58" fmla="*/ 437113 h 495533"/>
              <a:gd name="connsiteX59" fmla="*/ 10160 w 439420"/>
              <a:gd name="connsiteY59" fmla="*/ 457433 h 495533"/>
              <a:gd name="connsiteX60" fmla="*/ 5080 w 439420"/>
              <a:gd name="connsiteY60" fmla="*/ 467593 h 495533"/>
              <a:gd name="connsiteX61" fmla="*/ 0 w 439420"/>
              <a:gd name="connsiteY61" fmla="*/ 480293 h 495533"/>
              <a:gd name="connsiteX62" fmla="*/ 2540 w 439420"/>
              <a:gd name="connsiteY62" fmla="*/ 495533 h 4955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</a:cxnLst>
            <a:rect l="l" t="t" r="r" b="b"/>
            <a:pathLst>
              <a:path w="439420" h="495533">
                <a:moveTo>
                  <a:pt x="2540" y="495533"/>
                </a:moveTo>
                <a:cubicBezTo>
                  <a:pt x="5080" y="491300"/>
                  <a:pt x="6909" y="486548"/>
                  <a:pt x="10160" y="482833"/>
                </a:cubicBezTo>
                <a:cubicBezTo>
                  <a:pt x="12948" y="479647"/>
                  <a:pt x="17106" y="477968"/>
                  <a:pt x="20320" y="475213"/>
                </a:cubicBezTo>
                <a:cubicBezTo>
                  <a:pt x="23047" y="472875"/>
                  <a:pt x="25105" y="469798"/>
                  <a:pt x="27940" y="467593"/>
                </a:cubicBezTo>
                <a:lnTo>
                  <a:pt x="50800" y="452353"/>
                </a:lnTo>
                <a:cubicBezTo>
                  <a:pt x="53340" y="450660"/>
                  <a:pt x="55586" y="448407"/>
                  <a:pt x="58420" y="447273"/>
                </a:cubicBezTo>
                <a:cubicBezTo>
                  <a:pt x="73606" y="441199"/>
                  <a:pt x="66795" y="443635"/>
                  <a:pt x="78740" y="439653"/>
                </a:cubicBezTo>
                <a:cubicBezTo>
                  <a:pt x="101002" y="417391"/>
                  <a:pt x="73759" y="445631"/>
                  <a:pt x="91440" y="424413"/>
                </a:cubicBezTo>
                <a:cubicBezTo>
                  <a:pt x="93740" y="421653"/>
                  <a:pt x="96722" y="419520"/>
                  <a:pt x="99060" y="416793"/>
                </a:cubicBezTo>
                <a:cubicBezTo>
                  <a:pt x="110132" y="403876"/>
                  <a:pt x="101497" y="408361"/>
                  <a:pt x="114300" y="404093"/>
                </a:cubicBezTo>
                <a:cubicBezTo>
                  <a:pt x="118048" y="398470"/>
                  <a:pt x="121133" y="392764"/>
                  <a:pt x="127000" y="388853"/>
                </a:cubicBezTo>
                <a:cubicBezTo>
                  <a:pt x="129228" y="387368"/>
                  <a:pt x="132080" y="387160"/>
                  <a:pt x="134620" y="386313"/>
                </a:cubicBezTo>
                <a:cubicBezTo>
                  <a:pt x="137160" y="383773"/>
                  <a:pt x="140035" y="381528"/>
                  <a:pt x="142240" y="378693"/>
                </a:cubicBezTo>
                <a:cubicBezTo>
                  <a:pt x="145988" y="373874"/>
                  <a:pt x="146608" y="365384"/>
                  <a:pt x="152400" y="363453"/>
                </a:cubicBezTo>
                <a:lnTo>
                  <a:pt x="160020" y="360913"/>
                </a:lnTo>
                <a:cubicBezTo>
                  <a:pt x="160867" y="358373"/>
                  <a:pt x="161232" y="355618"/>
                  <a:pt x="162560" y="353293"/>
                </a:cubicBezTo>
                <a:cubicBezTo>
                  <a:pt x="165287" y="348521"/>
                  <a:pt x="173167" y="339116"/>
                  <a:pt x="177800" y="335513"/>
                </a:cubicBezTo>
                <a:cubicBezTo>
                  <a:pt x="182619" y="331765"/>
                  <a:pt x="188723" y="329670"/>
                  <a:pt x="193040" y="325353"/>
                </a:cubicBezTo>
                <a:cubicBezTo>
                  <a:pt x="195580" y="322813"/>
                  <a:pt x="197737" y="319821"/>
                  <a:pt x="200660" y="317733"/>
                </a:cubicBezTo>
                <a:cubicBezTo>
                  <a:pt x="203741" y="315532"/>
                  <a:pt x="207863" y="315018"/>
                  <a:pt x="210820" y="312653"/>
                </a:cubicBezTo>
                <a:cubicBezTo>
                  <a:pt x="223248" y="302711"/>
                  <a:pt x="224187" y="300222"/>
                  <a:pt x="231140" y="289793"/>
                </a:cubicBezTo>
                <a:cubicBezTo>
                  <a:pt x="231987" y="286406"/>
                  <a:pt x="232119" y="282755"/>
                  <a:pt x="233680" y="279633"/>
                </a:cubicBezTo>
                <a:cubicBezTo>
                  <a:pt x="239183" y="268626"/>
                  <a:pt x="242570" y="269473"/>
                  <a:pt x="251460" y="261853"/>
                </a:cubicBezTo>
                <a:cubicBezTo>
                  <a:pt x="254187" y="259515"/>
                  <a:pt x="256353" y="256571"/>
                  <a:pt x="259080" y="254233"/>
                </a:cubicBezTo>
                <a:cubicBezTo>
                  <a:pt x="262294" y="251478"/>
                  <a:pt x="266247" y="249606"/>
                  <a:pt x="269240" y="246613"/>
                </a:cubicBezTo>
                <a:cubicBezTo>
                  <a:pt x="271399" y="244454"/>
                  <a:pt x="272161" y="241152"/>
                  <a:pt x="274320" y="238993"/>
                </a:cubicBezTo>
                <a:cubicBezTo>
                  <a:pt x="276479" y="236834"/>
                  <a:pt x="279595" y="235867"/>
                  <a:pt x="281940" y="233913"/>
                </a:cubicBezTo>
                <a:cubicBezTo>
                  <a:pt x="284700" y="231613"/>
                  <a:pt x="287020" y="228833"/>
                  <a:pt x="289560" y="226293"/>
                </a:cubicBezTo>
                <a:cubicBezTo>
                  <a:pt x="295009" y="209947"/>
                  <a:pt x="287828" y="227701"/>
                  <a:pt x="299720" y="211053"/>
                </a:cubicBezTo>
                <a:cubicBezTo>
                  <a:pt x="301921" y="207972"/>
                  <a:pt x="302402" y="203824"/>
                  <a:pt x="304800" y="200893"/>
                </a:cubicBezTo>
                <a:cubicBezTo>
                  <a:pt x="310108" y="194406"/>
                  <a:pt x="316653" y="189040"/>
                  <a:pt x="322580" y="183113"/>
                </a:cubicBezTo>
                <a:cubicBezTo>
                  <a:pt x="325120" y="180573"/>
                  <a:pt x="328594" y="178706"/>
                  <a:pt x="330200" y="175493"/>
                </a:cubicBezTo>
                <a:cubicBezTo>
                  <a:pt x="333587" y="168720"/>
                  <a:pt x="335005" y="160528"/>
                  <a:pt x="340360" y="155173"/>
                </a:cubicBezTo>
                <a:cubicBezTo>
                  <a:pt x="342900" y="152633"/>
                  <a:pt x="345892" y="150476"/>
                  <a:pt x="347980" y="147553"/>
                </a:cubicBezTo>
                <a:cubicBezTo>
                  <a:pt x="359699" y="131147"/>
                  <a:pt x="345658" y="142328"/>
                  <a:pt x="360680" y="132313"/>
                </a:cubicBezTo>
                <a:cubicBezTo>
                  <a:pt x="365966" y="111168"/>
                  <a:pt x="358561" y="131106"/>
                  <a:pt x="370840" y="117073"/>
                </a:cubicBezTo>
                <a:cubicBezTo>
                  <a:pt x="374860" y="112478"/>
                  <a:pt x="376683" y="106150"/>
                  <a:pt x="381000" y="101833"/>
                </a:cubicBezTo>
                <a:cubicBezTo>
                  <a:pt x="383540" y="99293"/>
                  <a:pt x="386320" y="96973"/>
                  <a:pt x="388620" y="94213"/>
                </a:cubicBezTo>
                <a:cubicBezTo>
                  <a:pt x="390574" y="91868"/>
                  <a:pt x="391541" y="88752"/>
                  <a:pt x="393700" y="86593"/>
                </a:cubicBezTo>
                <a:cubicBezTo>
                  <a:pt x="395859" y="84434"/>
                  <a:pt x="398780" y="83206"/>
                  <a:pt x="401320" y="81513"/>
                </a:cubicBezTo>
                <a:cubicBezTo>
                  <a:pt x="402167" y="78973"/>
                  <a:pt x="402375" y="76121"/>
                  <a:pt x="403860" y="73893"/>
                </a:cubicBezTo>
                <a:cubicBezTo>
                  <a:pt x="407771" y="68026"/>
                  <a:pt x="413477" y="64941"/>
                  <a:pt x="419100" y="61193"/>
                </a:cubicBezTo>
                <a:cubicBezTo>
                  <a:pt x="420793" y="58653"/>
                  <a:pt x="422152" y="55855"/>
                  <a:pt x="424180" y="53573"/>
                </a:cubicBezTo>
                <a:cubicBezTo>
                  <a:pt x="428953" y="48203"/>
                  <a:pt x="439420" y="38333"/>
                  <a:pt x="439420" y="38333"/>
                </a:cubicBezTo>
                <a:lnTo>
                  <a:pt x="436880" y="7853"/>
                </a:lnTo>
                <a:cubicBezTo>
                  <a:pt x="430497" y="-5824"/>
                  <a:pt x="395032" y="2450"/>
                  <a:pt x="391160" y="2773"/>
                </a:cubicBezTo>
                <a:cubicBezTo>
                  <a:pt x="367182" y="16094"/>
                  <a:pt x="364614" y="17954"/>
                  <a:pt x="337820" y="30713"/>
                </a:cubicBezTo>
                <a:cubicBezTo>
                  <a:pt x="330291" y="34298"/>
                  <a:pt x="322091" y="36551"/>
                  <a:pt x="314960" y="40873"/>
                </a:cubicBezTo>
                <a:cubicBezTo>
                  <a:pt x="294075" y="53531"/>
                  <a:pt x="273168" y="66380"/>
                  <a:pt x="254000" y="81513"/>
                </a:cubicBezTo>
                <a:cubicBezTo>
                  <a:pt x="217756" y="110127"/>
                  <a:pt x="204972" y="119332"/>
                  <a:pt x="172720" y="147553"/>
                </a:cubicBezTo>
                <a:cubicBezTo>
                  <a:pt x="163248" y="155841"/>
                  <a:pt x="154113" y="164508"/>
                  <a:pt x="144780" y="172953"/>
                </a:cubicBezTo>
                <a:cubicBezTo>
                  <a:pt x="136333" y="180595"/>
                  <a:pt x="126881" y="187241"/>
                  <a:pt x="119380" y="195813"/>
                </a:cubicBezTo>
                <a:cubicBezTo>
                  <a:pt x="113453" y="202586"/>
                  <a:pt x="107161" y="209056"/>
                  <a:pt x="101600" y="216133"/>
                </a:cubicBezTo>
                <a:cubicBezTo>
                  <a:pt x="97828" y="220934"/>
                  <a:pt x="95290" y="226635"/>
                  <a:pt x="91440" y="231373"/>
                </a:cubicBezTo>
                <a:cubicBezTo>
                  <a:pt x="69192" y="258755"/>
                  <a:pt x="69582" y="252183"/>
                  <a:pt x="50800" y="279633"/>
                </a:cubicBezTo>
                <a:cubicBezTo>
                  <a:pt x="35066" y="302629"/>
                  <a:pt x="36662" y="302094"/>
                  <a:pt x="27940" y="325353"/>
                </a:cubicBezTo>
                <a:cubicBezTo>
                  <a:pt x="21294" y="365231"/>
                  <a:pt x="30383" y="315581"/>
                  <a:pt x="20320" y="355833"/>
                </a:cubicBezTo>
                <a:cubicBezTo>
                  <a:pt x="19071" y="360829"/>
                  <a:pt x="18627" y="365993"/>
                  <a:pt x="17780" y="371073"/>
                </a:cubicBezTo>
                <a:cubicBezTo>
                  <a:pt x="13634" y="453998"/>
                  <a:pt x="18437" y="396953"/>
                  <a:pt x="12700" y="437113"/>
                </a:cubicBezTo>
                <a:cubicBezTo>
                  <a:pt x="11735" y="443870"/>
                  <a:pt x="11816" y="450811"/>
                  <a:pt x="10160" y="457433"/>
                </a:cubicBezTo>
                <a:cubicBezTo>
                  <a:pt x="9242" y="461106"/>
                  <a:pt x="6618" y="464133"/>
                  <a:pt x="5080" y="467593"/>
                </a:cubicBezTo>
                <a:cubicBezTo>
                  <a:pt x="3228" y="471759"/>
                  <a:pt x="1693" y="476060"/>
                  <a:pt x="0" y="480293"/>
                </a:cubicBezTo>
                <a:lnTo>
                  <a:pt x="2540" y="495533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0000" tIns="46800" rIns="90000" bIns="468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600"/>
              </a:spcBef>
            </a:pPr>
            <a:endParaRPr lang="en-IN" dirty="0" err="1">
              <a:solidFill>
                <a:schemeClr val="tx1"/>
              </a:solidFill>
            </a:endParaRPr>
          </a:p>
        </p:txBody>
      </p:sp>
      <p:sp>
        <p:nvSpPr>
          <p:cNvPr id="50" name="Freeform: Shape 49">
            <a:extLst>
              <a:ext uri="{FF2B5EF4-FFF2-40B4-BE49-F238E27FC236}">
                <a16:creationId xmlns:a16="http://schemas.microsoft.com/office/drawing/2014/main" id="{81EC45C5-FC79-FD76-23B3-4DBFF76C9883}"/>
              </a:ext>
            </a:extLst>
          </p:cNvPr>
          <p:cNvSpPr/>
          <p:nvPr/>
        </p:nvSpPr>
        <p:spPr>
          <a:xfrm>
            <a:off x="6629750" y="3037772"/>
            <a:ext cx="50921" cy="182948"/>
          </a:xfrm>
          <a:custGeom>
            <a:avLst/>
            <a:gdLst>
              <a:gd name="connsiteX0" fmla="*/ 17430 w 50921"/>
              <a:gd name="connsiteY0" fmla="*/ 68 h 182948"/>
              <a:gd name="connsiteX1" fmla="*/ 30130 w 50921"/>
              <a:gd name="connsiteY1" fmla="*/ 10228 h 182948"/>
              <a:gd name="connsiteX2" fmla="*/ 37750 w 50921"/>
              <a:gd name="connsiteY2" fmla="*/ 28008 h 182948"/>
              <a:gd name="connsiteX3" fmla="*/ 45370 w 50921"/>
              <a:gd name="connsiteY3" fmla="*/ 45788 h 182948"/>
              <a:gd name="connsiteX4" fmla="*/ 50450 w 50921"/>
              <a:gd name="connsiteY4" fmla="*/ 142308 h 182948"/>
              <a:gd name="connsiteX5" fmla="*/ 45370 w 50921"/>
              <a:gd name="connsiteY5" fmla="*/ 182948 h 182948"/>
              <a:gd name="connsiteX6" fmla="*/ 17430 w 50921"/>
              <a:gd name="connsiteY6" fmla="*/ 177868 h 182948"/>
              <a:gd name="connsiteX7" fmla="*/ 12350 w 50921"/>
              <a:gd name="connsiteY7" fmla="*/ 170248 h 182948"/>
              <a:gd name="connsiteX8" fmla="*/ 9810 w 50921"/>
              <a:gd name="connsiteY8" fmla="*/ 162628 h 182948"/>
              <a:gd name="connsiteX9" fmla="*/ 4730 w 50921"/>
              <a:gd name="connsiteY9" fmla="*/ 152468 h 182948"/>
              <a:gd name="connsiteX10" fmla="*/ 4730 w 50921"/>
              <a:gd name="connsiteY10" fmla="*/ 50868 h 182948"/>
              <a:gd name="connsiteX11" fmla="*/ 12350 w 50921"/>
              <a:gd name="connsiteY11" fmla="*/ 22928 h 182948"/>
              <a:gd name="connsiteX12" fmla="*/ 17430 w 50921"/>
              <a:gd name="connsiteY12" fmla="*/ 15308 h 182948"/>
              <a:gd name="connsiteX13" fmla="*/ 17430 w 50921"/>
              <a:gd name="connsiteY13" fmla="*/ 68 h 1829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50921" h="182948">
                <a:moveTo>
                  <a:pt x="17430" y="68"/>
                </a:moveTo>
                <a:cubicBezTo>
                  <a:pt x="19547" y="-779"/>
                  <a:pt x="26297" y="6395"/>
                  <a:pt x="30130" y="10228"/>
                </a:cubicBezTo>
                <a:cubicBezTo>
                  <a:pt x="36317" y="16415"/>
                  <a:pt x="35418" y="19847"/>
                  <a:pt x="37750" y="28008"/>
                </a:cubicBezTo>
                <a:cubicBezTo>
                  <a:pt x="40242" y="36729"/>
                  <a:pt x="40854" y="36757"/>
                  <a:pt x="45370" y="45788"/>
                </a:cubicBezTo>
                <a:cubicBezTo>
                  <a:pt x="50724" y="83264"/>
                  <a:pt x="51665" y="85218"/>
                  <a:pt x="50450" y="142308"/>
                </a:cubicBezTo>
                <a:cubicBezTo>
                  <a:pt x="50160" y="155957"/>
                  <a:pt x="47063" y="169401"/>
                  <a:pt x="45370" y="182948"/>
                </a:cubicBezTo>
                <a:cubicBezTo>
                  <a:pt x="36057" y="181255"/>
                  <a:pt x="26265" y="181266"/>
                  <a:pt x="17430" y="177868"/>
                </a:cubicBezTo>
                <a:cubicBezTo>
                  <a:pt x="14581" y="176772"/>
                  <a:pt x="13715" y="172978"/>
                  <a:pt x="12350" y="170248"/>
                </a:cubicBezTo>
                <a:cubicBezTo>
                  <a:pt x="11153" y="167853"/>
                  <a:pt x="10865" y="165089"/>
                  <a:pt x="9810" y="162628"/>
                </a:cubicBezTo>
                <a:cubicBezTo>
                  <a:pt x="8318" y="159148"/>
                  <a:pt x="6423" y="155855"/>
                  <a:pt x="4730" y="152468"/>
                </a:cubicBezTo>
                <a:cubicBezTo>
                  <a:pt x="-3403" y="111801"/>
                  <a:pt x="552" y="136511"/>
                  <a:pt x="4730" y="50868"/>
                </a:cubicBezTo>
                <a:cubicBezTo>
                  <a:pt x="5228" y="40663"/>
                  <a:pt x="7829" y="31970"/>
                  <a:pt x="12350" y="22928"/>
                </a:cubicBezTo>
                <a:cubicBezTo>
                  <a:pt x="13715" y="20198"/>
                  <a:pt x="16065" y="18038"/>
                  <a:pt x="17430" y="15308"/>
                </a:cubicBezTo>
                <a:cubicBezTo>
                  <a:pt x="21642" y="6885"/>
                  <a:pt x="15313" y="915"/>
                  <a:pt x="17430" y="68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0000" tIns="46800" rIns="90000" bIns="468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600"/>
              </a:spcBef>
            </a:pPr>
            <a:endParaRPr lang="en-IN" dirty="0" err="1">
              <a:solidFill>
                <a:schemeClr val="tx1"/>
              </a:solidFill>
            </a:endParaRPr>
          </a:p>
        </p:txBody>
      </p:sp>
      <p:sp>
        <p:nvSpPr>
          <p:cNvPr id="51" name="Freeform: Shape 50">
            <a:extLst>
              <a:ext uri="{FF2B5EF4-FFF2-40B4-BE49-F238E27FC236}">
                <a16:creationId xmlns:a16="http://schemas.microsoft.com/office/drawing/2014/main" id="{B5132B9D-EFD1-9068-74AD-F3B8E855A334}"/>
              </a:ext>
            </a:extLst>
          </p:cNvPr>
          <p:cNvSpPr/>
          <p:nvPr/>
        </p:nvSpPr>
        <p:spPr>
          <a:xfrm>
            <a:off x="6626863" y="3583824"/>
            <a:ext cx="49234" cy="188076"/>
          </a:xfrm>
          <a:custGeom>
            <a:avLst/>
            <a:gdLst>
              <a:gd name="connsiteX0" fmla="*/ 30477 w 49234"/>
              <a:gd name="connsiteY0" fmla="*/ 116 h 188076"/>
              <a:gd name="connsiteX1" fmla="*/ 40637 w 49234"/>
              <a:gd name="connsiteY1" fmla="*/ 12816 h 188076"/>
              <a:gd name="connsiteX2" fmla="*/ 48257 w 49234"/>
              <a:gd name="connsiteY2" fmla="*/ 30596 h 188076"/>
              <a:gd name="connsiteX3" fmla="*/ 43177 w 49234"/>
              <a:gd name="connsiteY3" fmla="*/ 129656 h 188076"/>
              <a:gd name="connsiteX4" fmla="*/ 38097 w 49234"/>
              <a:gd name="connsiteY4" fmla="*/ 142356 h 188076"/>
              <a:gd name="connsiteX5" fmla="*/ 33017 w 49234"/>
              <a:gd name="connsiteY5" fmla="*/ 152516 h 188076"/>
              <a:gd name="connsiteX6" fmla="*/ 20317 w 49234"/>
              <a:gd name="connsiteY6" fmla="*/ 175376 h 188076"/>
              <a:gd name="connsiteX7" fmla="*/ 15237 w 49234"/>
              <a:gd name="connsiteY7" fmla="*/ 185536 h 188076"/>
              <a:gd name="connsiteX8" fmla="*/ 7617 w 49234"/>
              <a:gd name="connsiteY8" fmla="*/ 188076 h 188076"/>
              <a:gd name="connsiteX9" fmla="*/ 5077 w 49234"/>
              <a:gd name="connsiteY9" fmla="*/ 86476 h 188076"/>
              <a:gd name="connsiteX10" fmla="*/ 7617 w 49234"/>
              <a:gd name="connsiteY10" fmla="*/ 73776 h 188076"/>
              <a:gd name="connsiteX11" fmla="*/ 12697 w 49234"/>
              <a:gd name="connsiteY11" fmla="*/ 66156 h 188076"/>
              <a:gd name="connsiteX12" fmla="*/ 17777 w 49234"/>
              <a:gd name="connsiteY12" fmla="*/ 53456 h 188076"/>
              <a:gd name="connsiteX13" fmla="*/ 22857 w 49234"/>
              <a:gd name="connsiteY13" fmla="*/ 43296 h 188076"/>
              <a:gd name="connsiteX14" fmla="*/ 27937 w 49234"/>
              <a:gd name="connsiteY14" fmla="*/ 30596 h 188076"/>
              <a:gd name="connsiteX15" fmla="*/ 33017 w 49234"/>
              <a:gd name="connsiteY15" fmla="*/ 20436 h 188076"/>
              <a:gd name="connsiteX16" fmla="*/ 30477 w 49234"/>
              <a:gd name="connsiteY16" fmla="*/ 116 h 1880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49234" h="188076">
                <a:moveTo>
                  <a:pt x="30477" y="116"/>
                </a:moveTo>
                <a:cubicBezTo>
                  <a:pt x="31747" y="-1154"/>
                  <a:pt x="37630" y="8305"/>
                  <a:pt x="40637" y="12816"/>
                </a:cubicBezTo>
                <a:cubicBezTo>
                  <a:pt x="44822" y="19093"/>
                  <a:pt x="45999" y="23823"/>
                  <a:pt x="48257" y="30596"/>
                </a:cubicBezTo>
                <a:cubicBezTo>
                  <a:pt x="48199" y="32609"/>
                  <a:pt x="52603" y="101378"/>
                  <a:pt x="43177" y="129656"/>
                </a:cubicBezTo>
                <a:cubicBezTo>
                  <a:pt x="41735" y="133981"/>
                  <a:pt x="39949" y="138190"/>
                  <a:pt x="38097" y="142356"/>
                </a:cubicBezTo>
                <a:cubicBezTo>
                  <a:pt x="36559" y="145816"/>
                  <a:pt x="34555" y="149056"/>
                  <a:pt x="33017" y="152516"/>
                </a:cubicBezTo>
                <a:cubicBezTo>
                  <a:pt x="19230" y="183536"/>
                  <a:pt x="37297" y="148208"/>
                  <a:pt x="20317" y="175376"/>
                </a:cubicBezTo>
                <a:cubicBezTo>
                  <a:pt x="18310" y="178587"/>
                  <a:pt x="17914" y="182859"/>
                  <a:pt x="15237" y="185536"/>
                </a:cubicBezTo>
                <a:cubicBezTo>
                  <a:pt x="13344" y="187429"/>
                  <a:pt x="10157" y="187229"/>
                  <a:pt x="7617" y="188076"/>
                </a:cubicBezTo>
                <a:cubicBezTo>
                  <a:pt x="-4768" y="144728"/>
                  <a:pt x="654" y="170519"/>
                  <a:pt x="5077" y="86476"/>
                </a:cubicBezTo>
                <a:cubicBezTo>
                  <a:pt x="5304" y="82165"/>
                  <a:pt x="6101" y="77818"/>
                  <a:pt x="7617" y="73776"/>
                </a:cubicBezTo>
                <a:cubicBezTo>
                  <a:pt x="8689" y="70918"/>
                  <a:pt x="11332" y="68886"/>
                  <a:pt x="12697" y="66156"/>
                </a:cubicBezTo>
                <a:cubicBezTo>
                  <a:pt x="14736" y="62078"/>
                  <a:pt x="15925" y="57622"/>
                  <a:pt x="17777" y="53456"/>
                </a:cubicBezTo>
                <a:cubicBezTo>
                  <a:pt x="19315" y="49996"/>
                  <a:pt x="21319" y="46756"/>
                  <a:pt x="22857" y="43296"/>
                </a:cubicBezTo>
                <a:cubicBezTo>
                  <a:pt x="24709" y="39130"/>
                  <a:pt x="26085" y="34762"/>
                  <a:pt x="27937" y="30596"/>
                </a:cubicBezTo>
                <a:cubicBezTo>
                  <a:pt x="29475" y="27136"/>
                  <a:pt x="31611" y="23952"/>
                  <a:pt x="33017" y="20436"/>
                </a:cubicBezTo>
                <a:cubicBezTo>
                  <a:pt x="39434" y="4393"/>
                  <a:pt x="29207" y="1386"/>
                  <a:pt x="30477" y="116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0000" tIns="46800" rIns="90000" bIns="468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600"/>
              </a:spcBef>
            </a:pPr>
            <a:endParaRPr lang="en-IN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86403095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A4A5EB1A-E25A-BF3B-805B-E65C37939793}"/>
              </a:ext>
            </a:extLst>
          </p:cNvPr>
          <p:cNvSpPr/>
          <p:nvPr/>
        </p:nvSpPr>
        <p:spPr>
          <a:xfrm>
            <a:off x="335361" y="836613"/>
            <a:ext cx="11665296" cy="537303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0000" tIns="46800" rIns="90000" bIns="468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600"/>
              </a:spcBef>
            </a:pPr>
            <a:endParaRPr lang="en-IN" dirty="0" err="1">
              <a:solidFill>
                <a:schemeClr val="tx1"/>
              </a:solidFill>
            </a:endParaRP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844EDF9E-3782-8C1C-2320-31138FE38D2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n-US" dirty="0">
                <a:solidFill>
                  <a:srgbClr val="000000"/>
                </a:solidFill>
              </a:rPr>
              <a:t>12.11.2025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F9099B4-AEB7-08A8-6A16-ED313380021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FE11F066-C7D3-4B2D-BC7E-EC0D86AF6BBF}" type="slidenum">
              <a:rPr lang="de-DE" smtClean="0">
                <a:solidFill>
                  <a:srgbClr val="000000"/>
                </a:solidFill>
              </a:rPr>
              <a:pPr>
                <a:defRPr/>
              </a:pPr>
              <a:t>14</a:t>
            </a:fld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B08A4F27-37C8-EAAD-51B1-4D6D05D64BE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utomation Process of Slot Liner Insertion with the Proposed Parametric Funnel:</a:t>
            </a:r>
            <a:endParaRPr lang="en-IN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C9EEA2D-1302-A552-24EE-3EA76C7A4A4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defRPr/>
            </a:pPr>
            <a:r>
              <a:rPr lang="de-DE" dirty="0">
                <a:solidFill>
                  <a:srgbClr val="000000"/>
                </a:solidFill>
              </a:rPr>
              <a:t>Alen Sebastian – Development of a Parametric tool for Automated Slot Insulation Insertion in Small scale Electric Stator Production</a:t>
            </a:r>
          </a:p>
          <a:p>
            <a:pPr>
              <a:defRPr/>
            </a:pPr>
            <a:endParaRPr lang="de-DE" dirty="0">
              <a:solidFill>
                <a:srgbClr val="000000"/>
              </a:solidFill>
            </a:endParaRPr>
          </a:p>
        </p:txBody>
      </p:sp>
      <p:pic>
        <p:nvPicPr>
          <p:cNvPr id="25" name="Picture 24" descr="A circular metal object with white plastic parts&#10;&#10;AI-generated content may be incorrect.">
            <a:extLst>
              <a:ext uri="{FF2B5EF4-FFF2-40B4-BE49-F238E27FC236}">
                <a16:creationId xmlns:a16="http://schemas.microsoft.com/office/drawing/2014/main" id="{2B79B698-5E53-5679-74F3-9E372B67477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091516" y="966587"/>
            <a:ext cx="1715712" cy="1919005"/>
          </a:xfrm>
          <a:prstGeom prst="rect">
            <a:avLst/>
          </a:prstGeom>
        </p:spPr>
      </p:pic>
      <p:sp>
        <p:nvSpPr>
          <p:cNvPr id="27" name="Arrow: Right 26">
            <a:extLst>
              <a:ext uri="{FF2B5EF4-FFF2-40B4-BE49-F238E27FC236}">
                <a16:creationId xmlns:a16="http://schemas.microsoft.com/office/drawing/2014/main" id="{08232F1F-871F-18DA-0F47-72E8B5CF8758}"/>
              </a:ext>
            </a:extLst>
          </p:cNvPr>
          <p:cNvSpPr/>
          <p:nvPr/>
        </p:nvSpPr>
        <p:spPr>
          <a:xfrm>
            <a:off x="2100484" y="1682934"/>
            <a:ext cx="706010" cy="610170"/>
          </a:xfrm>
          <a:prstGeom prst="rightArrow">
            <a:avLst/>
          </a:prstGeom>
          <a:solidFill>
            <a:srgbClr val="97C13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0000" tIns="46800" rIns="90000" bIns="468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600"/>
              </a:spcBef>
            </a:pPr>
            <a:endParaRPr lang="en-IN" dirty="0" err="1">
              <a:solidFill>
                <a:schemeClr val="tx1"/>
              </a:solidFill>
            </a:endParaRPr>
          </a:p>
        </p:txBody>
      </p:sp>
      <p:pic>
        <p:nvPicPr>
          <p:cNvPr id="39" name="Picture 38" descr="A circular metal object with a black circle&#10;&#10;AI-generated content may be incorrect.">
            <a:extLst>
              <a:ext uri="{FF2B5EF4-FFF2-40B4-BE49-F238E27FC236}">
                <a16:creationId xmlns:a16="http://schemas.microsoft.com/office/drawing/2014/main" id="{65854560-93E9-7706-C567-17303B4B848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71286" y="1005080"/>
            <a:ext cx="1653858" cy="1919004"/>
          </a:xfrm>
          <a:prstGeom prst="rect">
            <a:avLst/>
          </a:prstGeom>
        </p:spPr>
      </p:pic>
      <p:sp>
        <p:nvSpPr>
          <p:cNvPr id="13" name="Arrow: Right 12">
            <a:extLst>
              <a:ext uri="{FF2B5EF4-FFF2-40B4-BE49-F238E27FC236}">
                <a16:creationId xmlns:a16="http://schemas.microsoft.com/office/drawing/2014/main" id="{3FF01B4B-F48A-61BD-550E-C7B9E6451B67}"/>
              </a:ext>
            </a:extLst>
          </p:cNvPr>
          <p:cNvSpPr/>
          <p:nvPr/>
        </p:nvSpPr>
        <p:spPr>
          <a:xfrm>
            <a:off x="9281091" y="1621005"/>
            <a:ext cx="706010" cy="610170"/>
          </a:xfrm>
          <a:prstGeom prst="rightArrow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0000" tIns="46800" rIns="90000" bIns="468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600"/>
              </a:spcBef>
            </a:pPr>
            <a:endParaRPr lang="en-IN" dirty="0" err="1">
              <a:solidFill>
                <a:schemeClr val="tx1"/>
              </a:solidFill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7B80DBB0-7D1C-2BF7-9AAF-062336A724A4}"/>
              </a:ext>
            </a:extLst>
          </p:cNvPr>
          <p:cNvSpPr txBox="1"/>
          <p:nvPr/>
        </p:nvSpPr>
        <p:spPr>
          <a:xfrm>
            <a:off x="488626" y="3082414"/>
            <a:ext cx="1653858" cy="22085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buClr>
                <a:srgbClr val="97C139"/>
              </a:buClr>
            </a:pPr>
            <a:endParaRPr lang="en-IN" dirty="0" err="1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1CC51D48-FF43-EEE6-D5EF-D94ED22219B8}"/>
              </a:ext>
            </a:extLst>
          </p:cNvPr>
          <p:cNvSpPr txBox="1"/>
          <p:nvPr/>
        </p:nvSpPr>
        <p:spPr>
          <a:xfrm>
            <a:off x="488626" y="3082414"/>
            <a:ext cx="1718942" cy="34658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buClr>
                <a:srgbClr val="97C139"/>
              </a:buClr>
            </a:pPr>
            <a:endParaRPr lang="en-IN" dirty="0" err="1"/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3E4ABF41-AEB0-2D02-24ED-1A06E1A98399}"/>
              </a:ext>
            </a:extLst>
          </p:cNvPr>
          <p:cNvSpPr txBox="1"/>
          <p:nvPr/>
        </p:nvSpPr>
        <p:spPr>
          <a:xfrm>
            <a:off x="271286" y="2990335"/>
            <a:ext cx="1653858" cy="34658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>
              <a:buClr>
                <a:srgbClr val="97C139"/>
              </a:buClr>
            </a:pPr>
            <a:r>
              <a:rPr lang="en-US" dirty="0"/>
              <a:t>Stator without slot liner insulation</a:t>
            </a:r>
            <a:endParaRPr lang="en-IN" dirty="0" err="1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331A96FE-BEE8-DA1A-0B09-069A5976C5A0}"/>
              </a:ext>
            </a:extLst>
          </p:cNvPr>
          <p:cNvSpPr txBox="1"/>
          <p:nvPr/>
        </p:nvSpPr>
        <p:spPr>
          <a:xfrm>
            <a:off x="10111517" y="2946483"/>
            <a:ext cx="1653858" cy="34658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>
              <a:buClr>
                <a:srgbClr val="97C139"/>
              </a:buClr>
            </a:pPr>
            <a:r>
              <a:rPr lang="en-US" dirty="0"/>
              <a:t>Stator with insulation</a:t>
            </a:r>
            <a:endParaRPr lang="en-IN" dirty="0" err="1"/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D43CB0A7-A0D1-262C-995E-DE94F52BA143}"/>
              </a:ext>
            </a:extLst>
          </p:cNvPr>
          <p:cNvGrpSpPr/>
          <p:nvPr/>
        </p:nvGrpSpPr>
        <p:grpSpPr>
          <a:xfrm>
            <a:off x="2849977" y="823392"/>
            <a:ext cx="6336706" cy="5466283"/>
            <a:chOff x="3082479" y="859619"/>
            <a:chExt cx="6336706" cy="5466283"/>
          </a:xfrm>
        </p:grpSpPr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99306AD5-E344-74D7-DF39-A68DA2D1E0C0}"/>
                </a:ext>
              </a:extLst>
            </p:cNvPr>
            <p:cNvSpPr/>
            <p:nvPr/>
          </p:nvSpPr>
          <p:spPr>
            <a:xfrm rot="16200000">
              <a:off x="3556833" y="385265"/>
              <a:ext cx="5387997" cy="6336706"/>
            </a:xfrm>
            <a:prstGeom prst="rect">
              <a:avLst/>
            </a:prstGeom>
            <a:solidFill>
              <a:srgbClr val="C5DE8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0000" tIns="46800" rIns="90000" bIns="468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600"/>
                </a:spcBef>
              </a:pPr>
              <a:endParaRPr lang="en-IN" dirty="0" err="1">
                <a:solidFill>
                  <a:schemeClr val="tx1"/>
                </a:solidFill>
              </a:endParaRPr>
            </a:p>
          </p:txBody>
        </p:sp>
        <p:pic>
          <p:nvPicPr>
            <p:cNvPr id="12" name="Picture 11" descr="A robotic arm on a black surface&#10;&#10;AI-generated content may be incorrect.">
              <a:extLst>
                <a:ext uri="{FF2B5EF4-FFF2-40B4-BE49-F238E27FC236}">
                  <a16:creationId xmlns:a16="http://schemas.microsoft.com/office/drawing/2014/main" id="{78E8432A-B9B7-0345-D2CB-E8730DBF8C84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rcRect t="35588" r="-632"/>
            <a:stretch>
              <a:fillRect/>
            </a:stretch>
          </p:blipFill>
          <p:spPr>
            <a:xfrm>
              <a:off x="3575003" y="946122"/>
              <a:ext cx="1346829" cy="1649547"/>
            </a:xfrm>
            <a:prstGeom prst="rect">
              <a:avLst/>
            </a:prstGeom>
          </p:spPr>
        </p:pic>
        <p:pic>
          <p:nvPicPr>
            <p:cNvPr id="14" name="Picture 13" descr="A close-up of a machine&#10;&#10;AI-generated content may be incorrect.">
              <a:extLst>
                <a:ext uri="{FF2B5EF4-FFF2-40B4-BE49-F238E27FC236}">
                  <a16:creationId xmlns:a16="http://schemas.microsoft.com/office/drawing/2014/main" id="{D9BC49A6-5F8D-8FA0-A04B-041C74B81419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3300157" y="3941702"/>
              <a:ext cx="1486465" cy="1383523"/>
            </a:xfrm>
            <a:prstGeom prst="rect">
              <a:avLst/>
            </a:prstGeom>
          </p:spPr>
        </p:pic>
        <p:pic>
          <p:nvPicPr>
            <p:cNvPr id="16" name="Picture 15" descr="A close-up of a machine&#10;&#10;AI-generated content may be incorrect.">
              <a:extLst>
                <a:ext uri="{FF2B5EF4-FFF2-40B4-BE49-F238E27FC236}">
                  <a16:creationId xmlns:a16="http://schemas.microsoft.com/office/drawing/2014/main" id="{6517A259-2F1B-6EC8-A572-59889A7B1A8C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rcRect l="9954" t="17582" r="18618" b="14140"/>
            <a:stretch>
              <a:fillRect/>
            </a:stretch>
          </p:blipFill>
          <p:spPr>
            <a:xfrm>
              <a:off x="5656599" y="4028355"/>
              <a:ext cx="1486465" cy="1368602"/>
            </a:xfrm>
            <a:prstGeom prst="rect">
              <a:avLst/>
            </a:prstGeom>
          </p:spPr>
        </p:pic>
        <p:pic>
          <p:nvPicPr>
            <p:cNvPr id="31" name="Picture 30" descr="A close-up of a machine&#10;&#10;AI-generated content may be incorrect.">
              <a:extLst>
                <a:ext uri="{FF2B5EF4-FFF2-40B4-BE49-F238E27FC236}">
                  <a16:creationId xmlns:a16="http://schemas.microsoft.com/office/drawing/2014/main" id="{D0CA90D7-104E-2B67-19B5-3A008BDAF9C5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rcRect t="-2" b="24387"/>
            <a:stretch>
              <a:fillRect/>
            </a:stretch>
          </p:blipFill>
          <p:spPr>
            <a:xfrm>
              <a:off x="7579206" y="1155859"/>
              <a:ext cx="1433906" cy="1320701"/>
            </a:xfrm>
            <a:prstGeom prst="rect">
              <a:avLst/>
            </a:prstGeom>
          </p:spPr>
        </p:pic>
        <p:sp>
          <p:nvSpPr>
            <p:cNvPr id="37" name="TextBox 36">
              <a:extLst>
                <a:ext uri="{FF2B5EF4-FFF2-40B4-BE49-F238E27FC236}">
                  <a16:creationId xmlns:a16="http://schemas.microsoft.com/office/drawing/2014/main" id="{6CF47061-567A-A63A-511C-6B264796D31B}"/>
                </a:ext>
              </a:extLst>
            </p:cNvPr>
            <p:cNvSpPr txBox="1"/>
            <p:nvPr/>
          </p:nvSpPr>
          <p:spPr>
            <a:xfrm>
              <a:off x="4572785" y="5923240"/>
              <a:ext cx="3390804" cy="40266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>
                <a:buClr>
                  <a:srgbClr val="97C139"/>
                </a:buClr>
              </a:pPr>
              <a:r>
                <a:rPr lang="en-US" dirty="0"/>
                <a:t>Process iterated till n == number of slots</a:t>
              </a:r>
              <a:endParaRPr lang="en-IN" dirty="0" err="1"/>
            </a:p>
          </p:txBody>
        </p:sp>
        <p:sp>
          <p:nvSpPr>
            <p:cNvPr id="7" name="Arrow: Right 6">
              <a:extLst>
                <a:ext uri="{FF2B5EF4-FFF2-40B4-BE49-F238E27FC236}">
                  <a16:creationId xmlns:a16="http://schemas.microsoft.com/office/drawing/2014/main" id="{6FC1B412-3B0D-4516-C3BB-B4B7EF4D7C2F}"/>
                </a:ext>
              </a:extLst>
            </p:cNvPr>
            <p:cNvSpPr/>
            <p:nvPr/>
          </p:nvSpPr>
          <p:spPr>
            <a:xfrm rot="5400000">
              <a:off x="3552501" y="3205680"/>
              <a:ext cx="706010" cy="610170"/>
            </a:xfrm>
            <a:prstGeom prst="rightArrow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0000" tIns="46800" rIns="90000" bIns="468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600"/>
                </a:spcBef>
              </a:pPr>
              <a:endParaRPr lang="en-IN" dirty="0" err="1">
                <a:solidFill>
                  <a:schemeClr val="tx1"/>
                </a:solidFill>
              </a:endParaRPr>
            </a:p>
          </p:txBody>
        </p:sp>
        <p:sp>
          <p:nvSpPr>
            <p:cNvPr id="9" name="Arrow: Right 8">
              <a:extLst>
                <a:ext uri="{FF2B5EF4-FFF2-40B4-BE49-F238E27FC236}">
                  <a16:creationId xmlns:a16="http://schemas.microsoft.com/office/drawing/2014/main" id="{B1769BC4-FB7C-92D4-76AA-B78DAA95E212}"/>
                </a:ext>
              </a:extLst>
            </p:cNvPr>
            <p:cNvSpPr/>
            <p:nvPr/>
          </p:nvSpPr>
          <p:spPr>
            <a:xfrm>
              <a:off x="4874511" y="4359765"/>
              <a:ext cx="706010" cy="610170"/>
            </a:xfrm>
            <a:prstGeom prst="rightArrow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0000" tIns="46800" rIns="90000" bIns="468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600"/>
                </a:spcBef>
              </a:pPr>
              <a:endParaRPr lang="en-IN" dirty="0" err="1">
                <a:solidFill>
                  <a:schemeClr val="tx1"/>
                </a:solidFill>
              </a:endParaRPr>
            </a:p>
          </p:txBody>
        </p:sp>
        <p:sp>
          <p:nvSpPr>
            <p:cNvPr id="10" name="Arrow: Right 9">
              <a:extLst>
                <a:ext uri="{FF2B5EF4-FFF2-40B4-BE49-F238E27FC236}">
                  <a16:creationId xmlns:a16="http://schemas.microsoft.com/office/drawing/2014/main" id="{449BBC70-66B2-0CB2-156D-A6D61F47F133}"/>
                </a:ext>
              </a:extLst>
            </p:cNvPr>
            <p:cNvSpPr/>
            <p:nvPr/>
          </p:nvSpPr>
          <p:spPr>
            <a:xfrm>
              <a:off x="7090505" y="4365711"/>
              <a:ext cx="706010" cy="610170"/>
            </a:xfrm>
            <a:prstGeom prst="rightArrow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0000" tIns="46800" rIns="90000" bIns="468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600"/>
                </a:spcBef>
              </a:pPr>
              <a:endParaRPr lang="en-IN" dirty="0" err="1">
                <a:solidFill>
                  <a:schemeClr val="tx1"/>
                </a:solidFill>
              </a:endParaRPr>
            </a:p>
          </p:txBody>
        </p:sp>
        <p:sp>
          <p:nvSpPr>
            <p:cNvPr id="11" name="Arrow: Right 10">
              <a:extLst>
                <a:ext uri="{FF2B5EF4-FFF2-40B4-BE49-F238E27FC236}">
                  <a16:creationId xmlns:a16="http://schemas.microsoft.com/office/drawing/2014/main" id="{C4728B26-0BE1-509E-3962-83787117A98B}"/>
                </a:ext>
              </a:extLst>
            </p:cNvPr>
            <p:cNvSpPr/>
            <p:nvPr/>
          </p:nvSpPr>
          <p:spPr>
            <a:xfrm rot="16200000">
              <a:off x="8100050" y="3205680"/>
              <a:ext cx="706010" cy="610170"/>
            </a:xfrm>
            <a:prstGeom prst="rightArrow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0000" tIns="46800" rIns="90000" bIns="468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600"/>
                </a:spcBef>
              </a:pPr>
              <a:endParaRPr lang="en-IN" dirty="0" err="1">
                <a:solidFill>
                  <a:schemeClr val="tx1"/>
                </a:solidFill>
              </a:endParaRPr>
            </a:p>
          </p:txBody>
        </p: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DE80DE75-B289-B972-03E6-D461F60932E8}"/>
                </a:ext>
              </a:extLst>
            </p:cNvPr>
            <p:cNvSpPr txBox="1"/>
            <p:nvPr/>
          </p:nvSpPr>
          <p:spPr>
            <a:xfrm>
              <a:off x="3233301" y="2626311"/>
              <a:ext cx="1658051" cy="30748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ctr">
                <a:buClr>
                  <a:srgbClr val="97C139"/>
                </a:buClr>
              </a:pPr>
              <a:r>
                <a:rPr lang="en-US" dirty="0"/>
                <a:t>Picking Funnel from the platform</a:t>
              </a:r>
              <a:endParaRPr lang="en-IN" dirty="0" err="1"/>
            </a:p>
          </p:txBody>
        </p:sp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8F323A39-41EE-D283-DF6E-A2E15CB9119E}"/>
                </a:ext>
              </a:extLst>
            </p:cNvPr>
            <p:cNvSpPr txBox="1"/>
            <p:nvPr/>
          </p:nvSpPr>
          <p:spPr>
            <a:xfrm>
              <a:off x="3153090" y="5396667"/>
              <a:ext cx="1653858" cy="34658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ctr">
                <a:buClr>
                  <a:srgbClr val="97C139"/>
                </a:buClr>
              </a:pPr>
              <a:r>
                <a:rPr lang="en-US" dirty="0"/>
                <a:t>Funnel Insertion</a:t>
              </a:r>
              <a:endParaRPr lang="en-IN" dirty="0" err="1"/>
            </a:p>
          </p:txBody>
        </p:sp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8B0C0E05-19FF-378A-4C34-B52E6CD5FA5D}"/>
                </a:ext>
              </a:extLst>
            </p:cNvPr>
            <p:cNvSpPr txBox="1"/>
            <p:nvPr/>
          </p:nvSpPr>
          <p:spPr>
            <a:xfrm>
              <a:off x="5504180" y="5419883"/>
              <a:ext cx="1653858" cy="34658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ctr">
                <a:buClr>
                  <a:srgbClr val="97C139"/>
                </a:buClr>
              </a:pPr>
              <a:r>
                <a:rPr lang="en-US" dirty="0"/>
                <a:t>Slot Liner Insertion</a:t>
              </a:r>
              <a:endParaRPr lang="en-IN" dirty="0" err="1"/>
            </a:p>
          </p:txBody>
        </p:sp>
        <p:sp>
          <p:nvSpPr>
            <p:cNvPr id="26" name="TextBox 25">
              <a:extLst>
                <a:ext uri="{FF2B5EF4-FFF2-40B4-BE49-F238E27FC236}">
                  <a16:creationId xmlns:a16="http://schemas.microsoft.com/office/drawing/2014/main" id="{AB94E4D2-9920-6321-99AE-CC518D387B17}"/>
                </a:ext>
              </a:extLst>
            </p:cNvPr>
            <p:cNvSpPr txBox="1"/>
            <p:nvPr/>
          </p:nvSpPr>
          <p:spPr>
            <a:xfrm>
              <a:off x="7663471" y="5362470"/>
              <a:ext cx="1653858" cy="34658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ctr">
                <a:buClr>
                  <a:srgbClr val="97C139"/>
                </a:buClr>
              </a:pPr>
              <a:r>
                <a:rPr lang="en-US" dirty="0"/>
                <a:t>Pushing the slot liner into the stator</a:t>
              </a:r>
              <a:endParaRPr lang="en-IN" dirty="0" err="1"/>
            </a:p>
          </p:txBody>
        </p:sp>
        <p:sp>
          <p:nvSpPr>
            <p:cNvPr id="30" name="TextBox 29">
              <a:extLst>
                <a:ext uri="{FF2B5EF4-FFF2-40B4-BE49-F238E27FC236}">
                  <a16:creationId xmlns:a16="http://schemas.microsoft.com/office/drawing/2014/main" id="{66BB658D-4C82-3437-AFA9-A2D770CBE676}"/>
                </a:ext>
              </a:extLst>
            </p:cNvPr>
            <p:cNvSpPr txBox="1"/>
            <p:nvPr/>
          </p:nvSpPr>
          <p:spPr>
            <a:xfrm>
              <a:off x="7469230" y="2690125"/>
              <a:ext cx="1653858" cy="34658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ctr">
                <a:buClr>
                  <a:srgbClr val="97C139"/>
                </a:buClr>
              </a:pPr>
              <a:r>
                <a:rPr lang="en-US" dirty="0"/>
                <a:t>Insertion Completed</a:t>
              </a:r>
              <a:endParaRPr lang="en-IN" dirty="0" err="1"/>
            </a:p>
          </p:txBody>
        </p:sp>
      </p:grpSp>
      <p:pic>
        <p:nvPicPr>
          <p:cNvPr id="18" name="Picture 17" descr="A close-up of a machine&#10;&#10;AI-generated content may be incorrect.">
            <a:extLst>
              <a:ext uri="{FF2B5EF4-FFF2-40B4-BE49-F238E27FC236}">
                <a16:creationId xmlns:a16="http://schemas.microsoft.com/office/drawing/2014/main" id="{A6FD92A8-3CB4-8A32-4D5D-AD824B0824C7}"/>
              </a:ext>
            </a:extLst>
          </p:cNvPr>
          <p:cNvPicPr>
            <a:picLocks noChangeAspect="1"/>
          </p:cNvPicPr>
          <p:nvPr/>
        </p:nvPicPr>
        <p:blipFill>
          <a:blip r:embed="rId8"/>
          <a:srcRect l="28253" t="49820" r="19997" b="9691"/>
          <a:stretch>
            <a:fillRect/>
          </a:stretch>
        </p:blipFill>
        <p:spPr>
          <a:xfrm>
            <a:off x="7557650" y="3952254"/>
            <a:ext cx="1467438" cy="13207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00653271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9273046-F2C0-0371-2276-8D47B060525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n-US" dirty="0">
                <a:solidFill>
                  <a:srgbClr val="000000"/>
                </a:solidFill>
              </a:rPr>
              <a:t>12.11.2025</a:t>
            </a:r>
          </a:p>
          <a:p>
            <a:pPr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1460A87-97F1-F0B1-63AB-842D3BFF4B7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FE11F066-C7D3-4B2D-BC7E-EC0D86AF6BBF}" type="slidenum">
              <a:rPr lang="de-DE" smtClean="0">
                <a:solidFill>
                  <a:srgbClr val="000000"/>
                </a:solidFill>
              </a:rPr>
              <a:pPr>
                <a:defRPr/>
              </a:pPr>
              <a:t>15</a:t>
            </a:fld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144EB8A6-0775-DAB2-A8F7-C038AFF4831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13310"/>
            <a:ext cx="10303200" cy="503238"/>
          </a:xfrm>
        </p:spPr>
        <p:txBody>
          <a:bodyPr/>
          <a:lstStyle/>
          <a:p>
            <a:r>
              <a:rPr lang="en-US" dirty="0"/>
              <a:t>Funnel validation through evaluation using stators of varying geometries, designated as Stator A, Stator B, and Stator C</a:t>
            </a:r>
            <a:endParaRPr lang="en-IN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DA9A945-A02D-18E0-C484-3FFD1575731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defRPr/>
            </a:pPr>
            <a:r>
              <a:rPr lang="de-DE" dirty="0">
                <a:solidFill>
                  <a:srgbClr val="000000"/>
                </a:solidFill>
              </a:rPr>
              <a:t>Alen Sebastian – Development of a Parametric tool for Automated Slot Insulation Insertion in Small scale Electric Stator Production</a:t>
            </a:r>
          </a:p>
          <a:p>
            <a:pPr>
              <a:defRPr/>
            </a:pPr>
            <a:endParaRPr lang="de-DE" dirty="0">
              <a:solidFill>
                <a:srgbClr val="000000"/>
              </a:solidFill>
            </a:endParaRPr>
          </a:p>
        </p:txBody>
      </p:sp>
      <p:grpSp>
        <p:nvGrpSpPr>
          <p:cNvPr id="68" name="Group 67">
            <a:extLst>
              <a:ext uri="{FF2B5EF4-FFF2-40B4-BE49-F238E27FC236}">
                <a16:creationId xmlns:a16="http://schemas.microsoft.com/office/drawing/2014/main" id="{AFD4DEBF-0AA3-3F5F-FA66-DD315FA5D2EE}"/>
              </a:ext>
            </a:extLst>
          </p:cNvPr>
          <p:cNvGrpSpPr/>
          <p:nvPr/>
        </p:nvGrpSpPr>
        <p:grpSpPr>
          <a:xfrm>
            <a:off x="1592426" y="1240767"/>
            <a:ext cx="3420128" cy="4896364"/>
            <a:chOff x="1211540" y="1108331"/>
            <a:chExt cx="3420128" cy="4896364"/>
          </a:xfrm>
        </p:grpSpPr>
        <p:grpSp>
          <p:nvGrpSpPr>
            <p:cNvPr id="20" name="Group 19">
              <a:extLst>
                <a:ext uri="{FF2B5EF4-FFF2-40B4-BE49-F238E27FC236}">
                  <a16:creationId xmlns:a16="http://schemas.microsoft.com/office/drawing/2014/main" id="{F1A6B137-B90C-75D3-5F9B-B13C37F03C3F}"/>
                </a:ext>
              </a:extLst>
            </p:cNvPr>
            <p:cNvGrpSpPr/>
            <p:nvPr/>
          </p:nvGrpSpPr>
          <p:grpSpPr>
            <a:xfrm>
              <a:off x="1271464" y="1108331"/>
              <a:ext cx="3240361" cy="1384565"/>
              <a:chOff x="1271464" y="1108331"/>
              <a:chExt cx="3240361" cy="1384565"/>
            </a:xfrm>
          </p:grpSpPr>
          <p:sp>
            <p:nvSpPr>
              <p:cNvPr id="17" name="Rectangle 16">
                <a:extLst>
                  <a:ext uri="{FF2B5EF4-FFF2-40B4-BE49-F238E27FC236}">
                    <a16:creationId xmlns:a16="http://schemas.microsoft.com/office/drawing/2014/main" id="{5708BD50-106C-A1A0-BAC0-DF3A7C732359}"/>
                  </a:ext>
                </a:extLst>
              </p:cNvPr>
              <p:cNvSpPr/>
              <p:nvPr/>
            </p:nvSpPr>
            <p:spPr>
              <a:xfrm>
                <a:off x="1271464" y="1108331"/>
                <a:ext cx="3240361" cy="1238611"/>
              </a:xfrm>
              <a:prstGeom prst="rect">
                <a:avLst/>
              </a:prstGeom>
              <a:solidFill>
                <a:srgbClr val="C5DE8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0000" tIns="46800" rIns="90000" bIns="468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ts val="600"/>
                  </a:spcBef>
                </a:pPr>
                <a:endParaRPr lang="en-IN" dirty="0" err="1">
                  <a:solidFill>
                    <a:schemeClr val="tx1"/>
                  </a:solidFill>
                </a:endParaRPr>
              </a:p>
            </p:txBody>
          </p:sp>
          <p:pic>
            <p:nvPicPr>
              <p:cNvPr id="6" name="Picture 5" descr="Close-up of a metal piece&#10;&#10;AI-generated content may be incorrect.">
                <a:extLst>
                  <a:ext uri="{FF2B5EF4-FFF2-40B4-BE49-F238E27FC236}">
                    <a16:creationId xmlns:a16="http://schemas.microsoft.com/office/drawing/2014/main" id="{634B54C9-4E6E-4150-E222-B60A05BAB45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/>
              <a:srcRect t="33972"/>
              <a:stretch>
                <a:fillRect/>
              </a:stretch>
            </p:blipFill>
            <p:spPr>
              <a:xfrm>
                <a:off x="1271464" y="1124744"/>
                <a:ext cx="1224136" cy="1238611"/>
              </a:xfrm>
              <a:prstGeom prst="rect">
                <a:avLst/>
              </a:prstGeom>
            </p:spPr>
          </p:pic>
          <p:sp>
            <p:nvSpPr>
              <p:cNvPr id="12" name="Rectangle: Rounded Corners 11">
                <a:extLst>
                  <a:ext uri="{FF2B5EF4-FFF2-40B4-BE49-F238E27FC236}">
                    <a16:creationId xmlns:a16="http://schemas.microsoft.com/office/drawing/2014/main" id="{EA3B74C2-C0F4-E661-E604-4F1B6D8C3B39}"/>
                  </a:ext>
                </a:extLst>
              </p:cNvPr>
              <p:cNvSpPr/>
              <p:nvPr/>
            </p:nvSpPr>
            <p:spPr>
              <a:xfrm>
                <a:off x="2027519" y="2204864"/>
                <a:ext cx="936104" cy="288032"/>
              </a:xfrm>
              <a:prstGeom prst="roundRect">
                <a:avLst/>
              </a:prstGeom>
              <a:solidFill>
                <a:srgbClr val="C5DE89"/>
              </a:solidFill>
              <a:ln>
                <a:solidFill>
                  <a:schemeClr val="tx1">
                    <a:lumMod val="85000"/>
                    <a:lumOff val="1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0000" tIns="46800" rIns="90000" bIns="468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ts val="600"/>
                  </a:spcBef>
                </a:pPr>
                <a:r>
                  <a:rPr lang="en-US" b="1" dirty="0">
                    <a:solidFill>
                      <a:schemeClr val="tx1"/>
                    </a:solidFill>
                  </a:rPr>
                  <a:t>Stator A</a:t>
                </a:r>
                <a:endParaRPr lang="en-IN" b="1" dirty="0" err="1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48D857B6-87B0-70E4-7769-A18104C3E843}"/>
                </a:ext>
              </a:extLst>
            </p:cNvPr>
            <p:cNvSpPr txBox="1"/>
            <p:nvPr/>
          </p:nvSpPr>
          <p:spPr>
            <a:xfrm>
              <a:off x="2783631" y="1307469"/>
              <a:ext cx="1728192" cy="90763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>
                <a:buClr>
                  <a:srgbClr val="97C139"/>
                </a:buClr>
              </a:pPr>
              <a:r>
                <a:rPr lang="en-US" b="1" dirty="0"/>
                <a:t>Slot Height </a:t>
              </a:r>
              <a:r>
                <a:rPr lang="en-US" dirty="0"/>
                <a:t>– 20 mm</a:t>
              </a:r>
            </a:p>
            <a:p>
              <a:pPr>
                <a:buClr>
                  <a:srgbClr val="97C139"/>
                </a:buClr>
              </a:pPr>
              <a:r>
                <a:rPr lang="en-US" b="1" dirty="0"/>
                <a:t>Slot Width</a:t>
              </a:r>
              <a:r>
                <a:rPr lang="en-US" dirty="0"/>
                <a:t> – 8 mm</a:t>
              </a:r>
            </a:p>
            <a:p>
              <a:pPr>
                <a:buClr>
                  <a:srgbClr val="97C139"/>
                </a:buClr>
              </a:pPr>
              <a:r>
                <a:rPr lang="en-US" b="1" dirty="0"/>
                <a:t>Slot angle </a:t>
              </a:r>
              <a:r>
                <a:rPr lang="en-US" dirty="0"/>
                <a:t>– 85 deg</a:t>
              </a:r>
              <a:endParaRPr lang="en-IN" dirty="0" err="1"/>
            </a:p>
          </p:txBody>
        </p:sp>
        <p:grpSp>
          <p:nvGrpSpPr>
            <p:cNvPr id="58" name="Group 57">
              <a:extLst>
                <a:ext uri="{FF2B5EF4-FFF2-40B4-BE49-F238E27FC236}">
                  <a16:creationId xmlns:a16="http://schemas.microsoft.com/office/drawing/2014/main" id="{DC92728A-B077-2453-1E55-CD4B7B4E74D6}"/>
                </a:ext>
              </a:extLst>
            </p:cNvPr>
            <p:cNvGrpSpPr/>
            <p:nvPr/>
          </p:nvGrpSpPr>
          <p:grpSpPr>
            <a:xfrm>
              <a:off x="1271464" y="2869902"/>
              <a:ext cx="3360204" cy="1358746"/>
              <a:chOff x="1271463" y="2720165"/>
              <a:chExt cx="3360204" cy="1358746"/>
            </a:xfrm>
          </p:grpSpPr>
          <p:grpSp>
            <p:nvGrpSpPr>
              <p:cNvPr id="21" name="Group 20">
                <a:extLst>
                  <a:ext uri="{FF2B5EF4-FFF2-40B4-BE49-F238E27FC236}">
                    <a16:creationId xmlns:a16="http://schemas.microsoft.com/office/drawing/2014/main" id="{A17FFD64-FFE7-48D8-E546-B2BD94A16597}"/>
                  </a:ext>
                </a:extLst>
              </p:cNvPr>
              <p:cNvGrpSpPr/>
              <p:nvPr/>
            </p:nvGrpSpPr>
            <p:grpSpPr>
              <a:xfrm>
                <a:off x="1271463" y="2720165"/>
                <a:ext cx="3240361" cy="1358746"/>
                <a:chOff x="1271463" y="2720165"/>
                <a:chExt cx="3240361" cy="1358746"/>
              </a:xfrm>
            </p:grpSpPr>
            <p:sp>
              <p:nvSpPr>
                <p:cNvPr id="18" name="Rectangle 17">
                  <a:extLst>
                    <a:ext uri="{FF2B5EF4-FFF2-40B4-BE49-F238E27FC236}">
                      <a16:creationId xmlns:a16="http://schemas.microsoft.com/office/drawing/2014/main" id="{8AF41418-A2DD-EB8D-7C88-E5FB283A99A0}"/>
                    </a:ext>
                  </a:extLst>
                </p:cNvPr>
                <p:cNvSpPr/>
                <p:nvPr/>
              </p:nvSpPr>
              <p:spPr>
                <a:xfrm>
                  <a:off x="1271463" y="2720165"/>
                  <a:ext cx="3240361" cy="1238611"/>
                </a:xfrm>
                <a:prstGeom prst="rect">
                  <a:avLst/>
                </a:prstGeom>
                <a:solidFill>
                  <a:srgbClr val="C5DE8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0000" tIns="46800" rIns="90000" bIns="468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spcBef>
                      <a:spcPts val="600"/>
                    </a:spcBef>
                  </a:pPr>
                  <a:endParaRPr lang="en-IN" dirty="0" err="1">
                    <a:solidFill>
                      <a:schemeClr val="tx1"/>
                    </a:solidFill>
                  </a:endParaRPr>
                </a:p>
              </p:txBody>
            </p:sp>
            <p:pic>
              <p:nvPicPr>
                <p:cNvPr id="9" name="Picture 8" descr="Close-up of a metal piece&#10;&#10;AI-generated content may be incorrect.">
                  <a:extLst>
                    <a:ext uri="{FF2B5EF4-FFF2-40B4-BE49-F238E27FC236}">
                      <a16:creationId xmlns:a16="http://schemas.microsoft.com/office/drawing/2014/main" id="{106237C6-F1ED-8184-C95D-B99BC2A89B70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/>
                <a:srcRect t="33972"/>
                <a:stretch>
                  <a:fillRect/>
                </a:stretch>
              </p:blipFill>
              <p:spPr>
                <a:xfrm>
                  <a:off x="1271464" y="2736578"/>
                  <a:ext cx="1224136" cy="1238611"/>
                </a:xfrm>
                <a:prstGeom prst="rect">
                  <a:avLst/>
                </a:prstGeom>
              </p:spPr>
            </p:pic>
            <p:sp>
              <p:nvSpPr>
                <p:cNvPr id="15" name="Rectangle: Rounded Corners 14">
                  <a:extLst>
                    <a:ext uri="{FF2B5EF4-FFF2-40B4-BE49-F238E27FC236}">
                      <a16:creationId xmlns:a16="http://schemas.microsoft.com/office/drawing/2014/main" id="{882C67BC-3B03-F8D8-682B-A8B3889FF0B9}"/>
                    </a:ext>
                  </a:extLst>
                </p:cNvPr>
                <p:cNvSpPr/>
                <p:nvPr/>
              </p:nvSpPr>
              <p:spPr>
                <a:xfrm>
                  <a:off x="2027519" y="3790879"/>
                  <a:ext cx="936104" cy="288032"/>
                </a:xfrm>
                <a:prstGeom prst="roundRect">
                  <a:avLst/>
                </a:prstGeom>
                <a:solidFill>
                  <a:srgbClr val="C5DE89"/>
                </a:solidFill>
                <a:ln>
                  <a:solidFill>
                    <a:schemeClr val="tx1">
                      <a:lumMod val="95000"/>
                      <a:lumOff val="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0000" tIns="46800" rIns="90000" bIns="468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spcBef>
                      <a:spcPts val="600"/>
                    </a:spcBef>
                  </a:pPr>
                  <a:r>
                    <a:rPr lang="en-US" b="1" dirty="0">
                      <a:solidFill>
                        <a:schemeClr val="tx1"/>
                      </a:solidFill>
                    </a:rPr>
                    <a:t>Stator B</a:t>
                  </a:r>
                  <a:endParaRPr lang="en-IN" b="1" dirty="0" err="1">
                    <a:solidFill>
                      <a:schemeClr val="tx1"/>
                    </a:solidFill>
                  </a:endParaRPr>
                </a:p>
              </p:txBody>
            </p:sp>
          </p:grpSp>
          <p:sp>
            <p:nvSpPr>
              <p:cNvPr id="25" name="TextBox 24">
                <a:extLst>
                  <a:ext uri="{FF2B5EF4-FFF2-40B4-BE49-F238E27FC236}">
                    <a16:creationId xmlns:a16="http://schemas.microsoft.com/office/drawing/2014/main" id="{15FF4579-0411-A8B6-0187-E7772DEA1AA6}"/>
                  </a:ext>
                </a:extLst>
              </p:cNvPr>
              <p:cNvSpPr txBox="1"/>
              <p:nvPr/>
            </p:nvSpPr>
            <p:spPr>
              <a:xfrm>
                <a:off x="2663787" y="2866119"/>
                <a:ext cx="1967880" cy="943848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>
                  <a:buClr>
                    <a:srgbClr val="97C139"/>
                  </a:buClr>
                </a:pPr>
                <a:r>
                  <a:rPr lang="en-US" b="1" dirty="0"/>
                  <a:t>Slot Height </a:t>
                </a:r>
                <a:r>
                  <a:rPr lang="en-US" dirty="0"/>
                  <a:t>– 22 mm</a:t>
                </a:r>
              </a:p>
              <a:p>
                <a:pPr>
                  <a:buClr>
                    <a:srgbClr val="97C139"/>
                  </a:buClr>
                </a:pPr>
                <a:r>
                  <a:rPr lang="en-US" b="1" dirty="0"/>
                  <a:t>Slot Width</a:t>
                </a:r>
                <a:r>
                  <a:rPr lang="en-US" dirty="0"/>
                  <a:t> – 8 mm</a:t>
                </a:r>
              </a:p>
              <a:p>
                <a:pPr>
                  <a:buClr>
                    <a:srgbClr val="97C139"/>
                  </a:buClr>
                </a:pPr>
                <a:r>
                  <a:rPr lang="en-US" b="1" dirty="0"/>
                  <a:t>Slot angle </a:t>
                </a:r>
                <a:r>
                  <a:rPr lang="en-US" dirty="0"/>
                  <a:t>– 85 deg</a:t>
                </a:r>
                <a:endParaRPr lang="en-IN" dirty="0" err="1"/>
              </a:p>
            </p:txBody>
          </p:sp>
        </p:grpSp>
        <p:grpSp>
          <p:nvGrpSpPr>
            <p:cNvPr id="57" name="Group 56">
              <a:extLst>
                <a:ext uri="{FF2B5EF4-FFF2-40B4-BE49-F238E27FC236}">
                  <a16:creationId xmlns:a16="http://schemas.microsoft.com/office/drawing/2014/main" id="{FEB53D33-CD34-9F4C-7D77-7E61AE000EC9}"/>
                </a:ext>
              </a:extLst>
            </p:cNvPr>
            <p:cNvGrpSpPr/>
            <p:nvPr/>
          </p:nvGrpSpPr>
          <p:grpSpPr>
            <a:xfrm>
              <a:off x="1211540" y="4622068"/>
              <a:ext cx="3360205" cy="1382627"/>
              <a:chOff x="1271462" y="4430968"/>
              <a:chExt cx="3360205" cy="1382627"/>
            </a:xfrm>
          </p:grpSpPr>
          <p:grpSp>
            <p:nvGrpSpPr>
              <p:cNvPr id="22" name="Group 21">
                <a:extLst>
                  <a:ext uri="{FF2B5EF4-FFF2-40B4-BE49-F238E27FC236}">
                    <a16:creationId xmlns:a16="http://schemas.microsoft.com/office/drawing/2014/main" id="{9F973E29-4BD5-E2D8-2B8D-F2ADF4E7E7D7}"/>
                  </a:ext>
                </a:extLst>
              </p:cNvPr>
              <p:cNvGrpSpPr/>
              <p:nvPr/>
            </p:nvGrpSpPr>
            <p:grpSpPr>
              <a:xfrm>
                <a:off x="1271462" y="4430968"/>
                <a:ext cx="3240361" cy="1382627"/>
                <a:chOff x="1271462" y="4494645"/>
                <a:chExt cx="3240361" cy="1382627"/>
              </a:xfrm>
            </p:grpSpPr>
            <p:sp>
              <p:nvSpPr>
                <p:cNvPr id="19" name="Rectangle 18">
                  <a:extLst>
                    <a:ext uri="{FF2B5EF4-FFF2-40B4-BE49-F238E27FC236}">
                      <a16:creationId xmlns:a16="http://schemas.microsoft.com/office/drawing/2014/main" id="{ADDB8F3E-DD0E-0F0A-BEEC-3A0EBB9B67F3}"/>
                    </a:ext>
                  </a:extLst>
                </p:cNvPr>
                <p:cNvSpPr/>
                <p:nvPr/>
              </p:nvSpPr>
              <p:spPr>
                <a:xfrm>
                  <a:off x="1271462" y="4494645"/>
                  <a:ext cx="3240361" cy="1238611"/>
                </a:xfrm>
                <a:prstGeom prst="rect">
                  <a:avLst/>
                </a:prstGeom>
                <a:solidFill>
                  <a:srgbClr val="C5DE8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0000" tIns="46800" rIns="90000" bIns="468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spcBef>
                      <a:spcPts val="600"/>
                    </a:spcBef>
                  </a:pPr>
                  <a:endParaRPr lang="en-IN" dirty="0" err="1">
                    <a:solidFill>
                      <a:schemeClr val="tx1"/>
                    </a:solidFill>
                  </a:endParaRPr>
                </a:p>
              </p:txBody>
            </p:sp>
            <p:pic>
              <p:nvPicPr>
                <p:cNvPr id="11" name="Picture 10" descr="A close up of a metal object&#10;&#10;AI-generated content may be incorrect.">
                  <a:extLst>
                    <a:ext uri="{FF2B5EF4-FFF2-40B4-BE49-F238E27FC236}">
                      <a16:creationId xmlns:a16="http://schemas.microsoft.com/office/drawing/2014/main" id="{AB93FB0E-F574-F03D-6DD3-0BDE28705035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/>
                <a:srcRect b="32976"/>
                <a:stretch>
                  <a:fillRect/>
                </a:stretch>
              </p:blipFill>
              <p:spPr>
                <a:xfrm>
                  <a:off x="1271464" y="4494645"/>
                  <a:ext cx="1224107" cy="1238611"/>
                </a:xfrm>
                <a:prstGeom prst="rect">
                  <a:avLst/>
                </a:prstGeom>
              </p:spPr>
            </p:pic>
            <p:sp>
              <p:nvSpPr>
                <p:cNvPr id="16" name="Rectangle: Rounded Corners 15">
                  <a:extLst>
                    <a:ext uri="{FF2B5EF4-FFF2-40B4-BE49-F238E27FC236}">
                      <a16:creationId xmlns:a16="http://schemas.microsoft.com/office/drawing/2014/main" id="{2D8F798A-1E8E-DA6B-CC94-B438A9C346D2}"/>
                    </a:ext>
                  </a:extLst>
                </p:cNvPr>
                <p:cNvSpPr/>
                <p:nvPr/>
              </p:nvSpPr>
              <p:spPr>
                <a:xfrm>
                  <a:off x="2027519" y="5589240"/>
                  <a:ext cx="936104" cy="288032"/>
                </a:xfrm>
                <a:prstGeom prst="roundRect">
                  <a:avLst/>
                </a:prstGeom>
                <a:solidFill>
                  <a:srgbClr val="C5DE89"/>
                </a:solidFill>
                <a:ln>
                  <a:solidFill>
                    <a:schemeClr val="tx1">
                      <a:lumMod val="95000"/>
                      <a:lumOff val="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0000" tIns="46800" rIns="90000" bIns="468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spcBef>
                      <a:spcPts val="600"/>
                    </a:spcBef>
                  </a:pPr>
                  <a:r>
                    <a:rPr lang="en-US" b="1" dirty="0">
                      <a:solidFill>
                        <a:schemeClr val="tx1"/>
                      </a:solidFill>
                    </a:rPr>
                    <a:t>Stator C</a:t>
                  </a:r>
                  <a:endParaRPr lang="en-IN" b="1" dirty="0" err="1">
                    <a:solidFill>
                      <a:schemeClr val="tx1"/>
                    </a:solidFill>
                  </a:endParaRPr>
                </a:p>
              </p:txBody>
            </p:sp>
          </p:grpSp>
          <p:sp>
            <p:nvSpPr>
              <p:cNvPr id="26" name="TextBox 25">
                <a:extLst>
                  <a:ext uri="{FF2B5EF4-FFF2-40B4-BE49-F238E27FC236}">
                    <a16:creationId xmlns:a16="http://schemas.microsoft.com/office/drawing/2014/main" id="{0B11493D-B91E-C00E-F61A-3AEE8BDBAB1C}"/>
                  </a:ext>
                </a:extLst>
              </p:cNvPr>
              <p:cNvSpPr txBox="1"/>
              <p:nvPr/>
            </p:nvSpPr>
            <p:spPr>
              <a:xfrm>
                <a:off x="2663787" y="4560509"/>
                <a:ext cx="1967880" cy="943848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>
                  <a:buClr>
                    <a:srgbClr val="97C139"/>
                  </a:buClr>
                </a:pPr>
                <a:r>
                  <a:rPr lang="en-US" b="1" dirty="0"/>
                  <a:t>Slot Height </a:t>
                </a:r>
                <a:r>
                  <a:rPr lang="en-US" dirty="0"/>
                  <a:t>– 18 mm</a:t>
                </a:r>
              </a:p>
              <a:p>
                <a:pPr>
                  <a:buClr>
                    <a:srgbClr val="97C139"/>
                  </a:buClr>
                </a:pPr>
                <a:r>
                  <a:rPr lang="en-US" b="1" dirty="0"/>
                  <a:t>Slot Width</a:t>
                </a:r>
                <a:r>
                  <a:rPr lang="en-US" dirty="0"/>
                  <a:t> – 5 mm</a:t>
                </a:r>
              </a:p>
              <a:p>
                <a:pPr>
                  <a:buClr>
                    <a:srgbClr val="97C139"/>
                  </a:buClr>
                </a:pPr>
                <a:r>
                  <a:rPr lang="en-US" b="1" dirty="0"/>
                  <a:t>Slot angle </a:t>
                </a:r>
                <a:r>
                  <a:rPr lang="en-US" dirty="0"/>
                  <a:t>– 89 deg</a:t>
                </a:r>
                <a:endParaRPr lang="en-IN" dirty="0" err="1"/>
              </a:p>
            </p:txBody>
          </p:sp>
        </p:grpSp>
      </p:grpSp>
      <p:grpSp>
        <p:nvGrpSpPr>
          <p:cNvPr id="7" name="Group 6">
            <a:extLst>
              <a:ext uri="{FF2B5EF4-FFF2-40B4-BE49-F238E27FC236}">
                <a16:creationId xmlns:a16="http://schemas.microsoft.com/office/drawing/2014/main" id="{401D0DAD-1B14-5A1D-8E74-D59AACDD8BA4}"/>
              </a:ext>
            </a:extLst>
          </p:cNvPr>
          <p:cNvGrpSpPr/>
          <p:nvPr/>
        </p:nvGrpSpPr>
        <p:grpSpPr>
          <a:xfrm>
            <a:off x="6773367" y="1171580"/>
            <a:ext cx="3783141" cy="4811289"/>
            <a:chOff x="4727848" y="1196729"/>
            <a:chExt cx="3783141" cy="4811289"/>
          </a:xfrm>
        </p:grpSpPr>
        <p:grpSp>
          <p:nvGrpSpPr>
            <p:cNvPr id="65" name="Group 64">
              <a:extLst>
                <a:ext uri="{FF2B5EF4-FFF2-40B4-BE49-F238E27FC236}">
                  <a16:creationId xmlns:a16="http://schemas.microsoft.com/office/drawing/2014/main" id="{A9A79982-79EE-DB27-C73A-E3B5B77FC012}"/>
                </a:ext>
              </a:extLst>
            </p:cNvPr>
            <p:cNvGrpSpPr/>
            <p:nvPr/>
          </p:nvGrpSpPr>
          <p:grpSpPr>
            <a:xfrm>
              <a:off x="4727848" y="1196729"/>
              <a:ext cx="3783141" cy="1362346"/>
              <a:chOff x="7176120" y="1108331"/>
              <a:chExt cx="3783141" cy="1362346"/>
            </a:xfrm>
          </p:grpSpPr>
          <p:pic>
            <p:nvPicPr>
              <p:cNvPr id="40" name="Picture 39" descr="A white object with a clip&#10;&#10;AI-generated content may be incorrect.">
                <a:extLst>
                  <a:ext uri="{FF2B5EF4-FFF2-40B4-BE49-F238E27FC236}">
                    <a16:creationId xmlns:a16="http://schemas.microsoft.com/office/drawing/2014/main" id="{CB424159-FD4B-43A1-D1D6-D6BA974D297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7176120" y="1108331"/>
                <a:ext cx="1645436" cy="1267734"/>
              </a:xfrm>
              <a:prstGeom prst="rect">
                <a:avLst/>
              </a:prstGeom>
            </p:spPr>
          </p:pic>
          <p:grpSp>
            <p:nvGrpSpPr>
              <p:cNvPr id="43" name="Group 42">
                <a:extLst>
                  <a:ext uri="{FF2B5EF4-FFF2-40B4-BE49-F238E27FC236}">
                    <a16:creationId xmlns:a16="http://schemas.microsoft.com/office/drawing/2014/main" id="{21612653-87FC-DE42-89F0-2CDDD5918872}"/>
                  </a:ext>
                </a:extLst>
              </p:cNvPr>
              <p:cNvGrpSpPr/>
              <p:nvPr/>
            </p:nvGrpSpPr>
            <p:grpSpPr>
              <a:xfrm>
                <a:off x="8254712" y="1269232"/>
                <a:ext cx="2704549" cy="1201445"/>
                <a:chOff x="8676452" y="1108331"/>
                <a:chExt cx="2573583" cy="1201445"/>
              </a:xfrm>
            </p:grpSpPr>
            <p:sp>
              <p:nvSpPr>
                <p:cNvPr id="36" name="Rectangle 35">
                  <a:extLst>
                    <a:ext uri="{FF2B5EF4-FFF2-40B4-BE49-F238E27FC236}">
                      <a16:creationId xmlns:a16="http://schemas.microsoft.com/office/drawing/2014/main" id="{392EB529-E101-FDBB-8C95-814466D1A2D2}"/>
                    </a:ext>
                  </a:extLst>
                </p:cNvPr>
                <p:cNvSpPr/>
                <p:nvPr/>
              </p:nvSpPr>
              <p:spPr>
                <a:xfrm>
                  <a:off x="9180509" y="1108331"/>
                  <a:ext cx="2064170" cy="1077339"/>
                </a:xfrm>
                <a:prstGeom prst="rect">
                  <a:avLst/>
                </a:prstGeom>
                <a:solidFill>
                  <a:srgbClr val="C5DE8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0000" tIns="46800" rIns="90000" bIns="468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spcBef>
                      <a:spcPts val="600"/>
                    </a:spcBef>
                  </a:pPr>
                  <a:endParaRPr lang="en-IN" dirty="0" err="1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24" name="TextBox 23">
                  <a:extLst>
                    <a:ext uri="{FF2B5EF4-FFF2-40B4-BE49-F238E27FC236}">
                      <a16:creationId xmlns:a16="http://schemas.microsoft.com/office/drawing/2014/main" id="{77E7A6A9-F50E-B0D3-AA91-382BCA22493A}"/>
                    </a:ext>
                  </a:extLst>
                </p:cNvPr>
                <p:cNvSpPr txBox="1"/>
                <p:nvPr/>
              </p:nvSpPr>
              <p:spPr>
                <a:xfrm>
                  <a:off x="9307903" y="1182797"/>
                  <a:ext cx="1942132" cy="907637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noAutofit/>
                </a:bodyPr>
                <a:lstStyle/>
                <a:p>
                  <a:pPr>
                    <a:buClr>
                      <a:srgbClr val="97C139"/>
                    </a:buClr>
                  </a:pPr>
                  <a:r>
                    <a:rPr lang="en-US" b="1" dirty="0"/>
                    <a:t>Slot Height </a:t>
                  </a:r>
                  <a:r>
                    <a:rPr lang="en-US" dirty="0"/>
                    <a:t>– 19.8 mm</a:t>
                  </a:r>
                </a:p>
                <a:p>
                  <a:pPr>
                    <a:buClr>
                      <a:srgbClr val="97C139"/>
                    </a:buClr>
                  </a:pPr>
                  <a:r>
                    <a:rPr lang="en-US" b="1" dirty="0"/>
                    <a:t>Slot Width</a:t>
                  </a:r>
                  <a:r>
                    <a:rPr lang="en-US" dirty="0"/>
                    <a:t> – 8 mm</a:t>
                  </a:r>
                </a:p>
                <a:p>
                  <a:pPr>
                    <a:buClr>
                      <a:srgbClr val="97C139"/>
                    </a:buClr>
                  </a:pPr>
                  <a:r>
                    <a:rPr lang="en-US" b="1" dirty="0"/>
                    <a:t>Slot angle </a:t>
                  </a:r>
                  <a:r>
                    <a:rPr lang="en-US" dirty="0"/>
                    <a:t>– 85 deg</a:t>
                  </a:r>
                  <a:endParaRPr lang="en-IN" dirty="0" err="1"/>
                </a:p>
              </p:txBody>
            </p:sp>
            <p:sp>
              <p:nvSpPr>
                <p:cNvPr id="38" name="Rectangle: Rounded Corners 37">
                  <a:extLst>
                    <a:ext uri="{FF2B5EF4-FFF2-40B4-BE49-F238E27FC236}">
                      <a16:creationId xmlns:a16="http://schemas.microsoft.com/office/drawing/2014/main" id="{CC054AD4-D8D0-8BE4-D388-B64151CDC1AA}"/>
                    </a:ext>
                  </a:extLst>
                </p:cNvPr>
                <p:cNvSpPr/>
                <p:nvPr/>
              </p:nvSpPr>
              <p:spPr>
                <a:xfrm>
                  <a:off x="8676452" y="2058690"/>
                  <a:ext cx="1008113" cy="251086"/>
                </a:xfrm>
                <a:prstGeom prst="roundRect">
                  <a:avLst/>
                </a:prstGeom>
                <a:solidFill>
                  <a:srgbClr val="C5DE89"/>
                </a:solidFill>
                <a:ln>
                  <a:solidFill>
                    <a:schemeClr val="tx1">
                      <a:lumMod val="95000"/>
                      <a:lumOff val="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0000" tIns="46800" rIns="90000" bIns="468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spcBef>
                      <a:spcPts val="600"/>
                    </a:spcBef>
                  </a:pPr>
                  <a:r>
                    <a:rPr lang="en-US" b="1" dirty="0">
                      <a:solidFill>
                        <a:schemeClr val="tx1"/>
                      </a:solidFill>
                    </a:rPr>
                    <a:t>Funnel A</a:t>
                  </a:r>
                  <a:endParaRPr lang="en-IN" b="1" dirty="0" err="1">
                    <a:solidFill>
                      <a:schemeClr val="tx1"/>
                    </a:solidFill>
                  </a:endParaRPr>
                </a:p>
              </p:txBody>
            </p:sp>
          </p:grpSp>
        </p:grpSp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BF656E6F-B545-930F-DCB5-A8E4167190CF}"/>
                </a:ext>
              </a:extLst>
            </p:cNvPr>
            <p:cNvGrpSpPr/>
            <p:nvPr/>
          </p:nvGrpSpPr>
          <p:grpSpPr>
            <a:xfrm>
              <a:off x="4727848" y="2855361"/>
              <a:ext cx="3744415" cy="1512072"/>
              <a:chOff x="7176120" y="2869902"/>
              <a:chExt cx="3744415" cy="1512072"/>
            </a:xfrm>
          </p:grpSpPr>
          <p:pic>
            <p:nvPicPr>
              <p:cNvPr id="46" name="Picture 45" descr="A white object with a clip&#10;&#10;AI-generated content may be incorrect.">
                <a:extLst>
                  <a:ext uri="{FF2B5EF4-FFF2-40B4-BE49-F238E27FC236}">
                    <a16:creationId xmlns:a16="http://schemas.microsoft.com/office/drawing/2014/main" id="{8BC7D49F-BA47-1CB3-5630-D295FD5848A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7176120" y="2869902"/>
                <a:ext cx="1645436" cy="1397806"/>
              </a:xfrm>
              <a:prstGeom prst="rect">
                <a:avLst/>
              </a:prstGeom>
            </p:spPr>
          </p:pic>
          <p:grpSp>
            <p:nvGrpSpPr>
              <p:cNvPr id="47" name="Group 46">
                <a:extLst>
                  <a:ext uri="{FF2B5EF4-FFF2-40B4-BE49-F238E27FC236}">
                    <a16:creationId xmlns:a16="http://schemas.microsoft.com/office/drawing/2014/main" id="{1A3E4C11-D60A-DBE7-B45A-3D36EC708E33}"/>
                  </a:ext>
                </a:extLst>
              </p:cNvPr>
              <p:cNvGrpSpPr/>
              <p:nvPr/>
            </p:nvGrpSpPr>
            <p:grpSpPr>
              <a:xfrm>
                <a:off x="8285656" y="3180529"/>
                <a:ext cx="2634879" cy="1201445"/>
                <a:chOff x="8676452" y="1108331"/>
                <a:chExt cx="2634879" cy="1201445"/>
              </a:xfrm>
            </p:grpSpPr>
            <p:sp>
              <p:nvSpPr>
                <p:cNvPr id="48" name="Rectangle 47">
                  <a:extLst>
                    <a:ext uri="{FF2B5EF4-FFF2-40B4-BE49-F238E27FC236}">
                      <a16:creationId xmlns:a16="http://schemas.microsoft.com/office/drawing/2014/main" id="{016DA5F4-0A21-D881-39C9-41E70CE87705}"/>
                    </a:ext>
                  </a:extLst>
                </p:cNvPr>
                <p:cNvSpPr/>
                <p:nvPr/>
              </p:nvSpPr>
              <p:spPr>
                <a:xfrm>
                  <a:off x="9180511" y="1108331"/>
                  <a:ext cx="2130820" cy="1077339"/>
                </a:xfrm>
                <a:prstGeom prst="rect">
                  <a:avLst/>
                </a:prstGeom>
                <a:solidFill>
                  <a:srgbClr val="C5DE8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0000" tIns="46800" rIns="90000" bIns="468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spcBef>
                      <a:spcPts val="600"/>
                    </a:spcBef>
                  </a:pPr>
                  <a:endParaRPr lang="en-IN" dirty="0" err="1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49" name="TextBox 48">
                  <a:extLst>
                    <a:ext uri="{FF2B5EF4-FFF2-40B4-BE49-F238E27FC236}">
                      <a16:creationId xmlns:a16="http://schemas.microsoft.com/office/drawing/2014/main" id="{AF61B65F-F255-F9C5-6B34-8CECE2F3CD1F}"/>
                    </a:ext>
                  </a:extLst>
                </p:cNvPr>
                <p:cNvSpPr txBox="1"/>
                <p:nvPr/>
              </p:nvSpPr>
              <p:spPr>
                <a:xfrm>
                  <a:off x="9273973" y="1179368"/>
                  <a:ext cx="1986804" cy="907637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noAutofit/>
                </a:bodyPr>
                <a:lstStyle/>
                <a:p>
                  <a:pPr>
                    <a:buClr>
                      <a:srgbClr val="97C139"/>
                    </a:buClr>
                  </a:pPr>
                  <a:r>
                    <a:rPr lang="en-US" b="1" dirty="0"/>
                    <a:t>Slot Height </a:t>
                  </a:r>
                  <a:r>
                    <a:rPr lang="en-US" dirty="0"/>
                    <a:t>– 21.80 mm</a:t>
                  </a:r>
                </a:p>
                <a:p>
                  <a:pPr>
                    <a:buClr>
                      <a:srgbClr val="97C139"/>
                    </a:buClr>
                  </a:pPr>
                  <a:r>
                    <a:rPr lang="en-US" b="1" dirty="0"/>
                    <a:t>Slot Width</a:t>
                  </a:r>
                  <a:r>
                    <a:rPr lang="en-US" dirty="0"/>
                    <a:t> – 8 mm</a:t>
                  </a:r>
                </a:p>
                <a:p>
                  <a:pPr>
                    <a:buClr>
                      <a:srgbClr val="97C139"/>
                    </a:buClr>
                  </a:pPr>
                  <a:r>
                    <a:rPr lang="en-US" b="1" dirty="0"/>
                    <a:t>Slot angle </a:t>
                  </a:r>
                  <a:r>
                    <a:rPr lang="en-US" dirty="0"/>
                    <a:t>– 85 deg</a:t>
                  </a:r>
                  <a:endParaRPr lang="en-IN" dirty="0" err="1"/>
                </a:p>
              </p:txBody>
            </p:sp>
            <p:sp>
              <p:nvSpPr>
                <p:cNvPr id="50" name="Rectangle: Rounded Corners 49">
                  <a:extLst>
                    <a:ext uri="{FF2B5EF4-FFF2-40B4-BE49-F238E27FC236}">
                      <a16:creationId xmlns:a16="http://schemas.microsoft.com/office/drawing/2014/main" id="{E429E1A8-7BD4-C046-6FEE-755427E9B37D}"/>
                    </a:ext>
                  </a:extLst>
                </p:cNvPr>
                <p:cNvSpPr/>
                <p:nvPr/>
              </p:nvSpPr>
              <p:spPr>
                <a:xfrm>
                  <a:off x="8676452" y="2058690"/>
                  <a:ext cx="1008113" cy="251086"/>
                </a:xfrm>
                <a:prstGeom prst="roundRect">
                  <a:avLst/>
                </a:prstGeom>
                <a:solidFill>
                  <a:srgbClr val="C5DE89"/>
                </a:solidFill>
                <a:ln>
                  <a:solidFill>
                    <a:schemeClr val="tx1">
                      <a:lumMod val="95000"/>
                      <a:lumOff val="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0000" tIns="46800" rIns="90000" bIns="468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spcBef>
                      <a:spcPts val="600"/>
                    </a:spcBef>
                  </a:pPr>
                  <a:r>
                    <a:rPr lang="en-US" b="1" dirty="0">
                      <a:solidFill>
                        <a:schemeClr val="tx1"/>
                      </a:solidFill>
                    </a:rPr>
                    <a:t>Funnel B</a:t>
                  </a:r>
                  <a:endParaRPr lang="en-IN" b="1" dirty="0" err="1">
                    <a:solidFill>
                      <a:schemeClr val="tx1"/>
                    </a:solidFill>
                  </a:endParaRPr>
                </a:p>
              </p:txBody>
            </p:sp>
          </p:grpSp>
        </p:grpSp>
        <p:grpSp>
          <p:nvGrpSpPr>
            <p:cNvPr id="67" name="Group 66">
              <a:extLst>
                <a:ext uri="{FF2B5EF4-FFF2-40B4-BE49-F238E27FC236}">
                  <a16:creationId xmlns:a16="http://schemas.microsoft.com/office/drawing/2014/main" id="{0BEDCA0B-6AF8-DAC9-A63C-6ADFF1C5A8F2}"/>
                </a:ext>
              </a:extLst>
            </p:cNvPr>
            <p:cNvGrpSpPr/>
            <p:nvPr/>
          </p:nvGrpSpPr>
          <p:grpSpPr>
            <a:xfrm>
              <a:off x="4861808" y="4667066"/>
              <a:ext cx="3573527" cy="1340952"/>
              <a:chOff x="7347007" y="4609013"/>
              <a:chExt cx="3573527" cy="1340952"/>
            </a:xfrm>
          </p:grpSpPr>
          <p:pic>
            <p:nvPicPr>
              <p:cNvPr id="64" name="Picture 63" descr="A white object with a clip&#10;&#10;AI-generated content may be incorrect.">
                <a:extLst>
                  <a:ext uri="{FF2B5EF4-FFF2-40B4-BE49-F238E27FC236}">
                    <a16:creationId xmlns:a16="http://schemas.microsoft.com/office/drawing/2014/main" id="{4BA453DD-673E-0BCA-7562-87ED73DD40A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/>
              <a:srcRect l="3566" r="3173"/>
              <a:stretch>
                <a:fillRect/>
              </a:stretch>
            </p:blipFill>
            <p:spPr>
              <a:xfrm>
                <a:off x="7347007" y="4609013"/>
                <a:ext cx="1474339" cy="1301452"/>
              </a:xfrm>
              <a:prstGeom prst="rect">
                <a:avLst/>
              </a:prstGeom>
            </p:spPr>
          </p:pic>
          <p:grpSp>
            <p:nvGrpSpPr>
              <p:cNvPr id="59" name="Group 58">
                <a:extLst>
                  <a:ext uri="{FF2B5EF4-FFF2-40B4-BE49-F238E27FC236}">
                    <a16:creationId xmlns:a16="http://schemas.microsoft.com/office/drawing/2014/main" id="{0543AC17-4819-C417-83F7-E4A00825017F}"/>
                  </a:ext>
                </a:extLst>
              </p:cNvPr>
              <p:cNvGrpSpPr/>
              <p:nvPr/>
            </p:nvGrpSpPr>
            <p:grpSpPr>
              <a:xfrm>
                <a:off x="8300423" y="4748520"/>
                <a:ext cx="2620111" cy="1201445"/>
                <a:chOff x="8676452" y="1108331"/>
                <a:chExt cx="2620111" cy="1201445"/>
              </a:xfrm>
            </p:grpSpPr>
            <p:sp>
              <p:nvSpPr>
                <p:cNvPr id="60" name="Rectangle 59">
                  <a:extLst>
                    <a:ext uri="{FF2B5EF4-FFF2-40B4-BE49-F238E27FC236}">
                      <a16:creationId xmlns:a16="http://schemas.microsoft.com/office/drawing/2014/main" id="{FCDF265F-3FA1-3CC5-8917-AE2BE640ABD1}"/>
                    </a:ext>
                  </a:extLst>
                </p:cNvPr>
                <p:cNvSpPr/>
                <p:nvPr/>
              </p:nvSpPr>
              <p:spPr>
                <a:xfrm>
                  <a:off x="9180510" y="1108331"/>
                  <a:ext cx="2116053" cy="1077339"/>
                </a:xfrm>
                <a:prstGeom prst="rect">
                  <a:avLst/>
                </a:prstGeom>
                <a:solidFill>
                  <a:srgbClr val="C5DE8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0000" tIns="46800" rIns="90000" bIns="468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spcBef>
                      <a:spcPts val="600"/>
                    </a:spcBef>
                  </a:pPr>
                  <a:endParaRPr lang="en-IN" dirty="0" err="1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61" name="TextBox 60">
                  <a:extLst>
                    <a:ext uri="{FF2B5EF4-FFF2-40B4-BE49-F238E27FC236}">
                      <a16:creationId xmlns:a16="http://schemas.microsoft.com/office/drawing/2014/main" id="{DED60CFF-F8BD-8725-C25C-B8E0B54BADFD}"/>
                    </a:ext>
                  </a:extLst>
                </p:cNvPr>
                <p:cNvSpPr txBox="1"/>
                <p:nvPr/>
              </p:nvSpPr>
              <p:spPr>
                <a:xfrm>
                  <a:off x="9298873" y="1207683"/>
                  <a:ext cx="1997689" cy="907637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noAutofit/>
                </a:bodyPr>
                <a:lstStyle/>
                <a:p>
                  <a:pPr>
                    <a:buClr>
                      <a:srgbClr val="97C139"/>
                    </a:buClr>
                  </a:pPr>
                  <a:r>
                    <a:rPr lang="en-US" b="1" dirty="0"/>
                    <a:t>Slot Height </a:t>
                  </a:r>
                  <a:r>
                    <a:rPr lang="en-US" dirty="0"/>
                    <a:t>– 17.80 mm</a:t>
                  </a:r>
                </a:p>
                <a:p>
                  <a:pPr>
                    <a:buClr>
                      <a:srgbClr val="97C139"/>
                    </a:buClr>
                  </a:pPr>
                  <a:r>
                    <a:rPr lang="en-US" b="1" dirty="0"/>
                    <a:t>Slot Width</a:t>
                  </a:r>
                  <a:r>
                    <a:rPr lang="en-US" dirty="0"/>
                    <a:t> – 5 mm</a:t>
                  </a:r>
                </a:p>
                <a:p>
                  <a:pPr>
                    <a:buClr>
                      <a:srgbClr val="97C139"/>
                    </a:buClr>
                  </a:pPr>
                  <a:r>
                    <a:rPr lang="en-US" b="1" dirty="0"/>
                    <a:t>Slot angle </a:t>
                  </a:r>
                  <a:r>
                    <a:rPr lang="en-US" dirty="0"/>
                    <a:t>– 89 deg</a:t>
                  </a:r>
                  <a:endParaRPr lang="en-IN" dirty="0" err="1"/>
                </a:p>
              </p:txBody>
            </p:sp>
            <p:sp>
              <p:nvSpPr>
                <p:cNvPr id="62" name="Rectangle: Rounded Corners 61">
                  <a:extLst>
                    <a:ext uri="{FF2B5EF4-FFF2-40B4-BE49-F238E27FC236}">
                      <a16:creationId xmlns:a16="http://schemas.microsoft.com/office/drawing/2014/main" id="{0B898CFB-0254-B212-16EA-71AC71C8745D}"/>
                    </a:ext>
                  </a:extLst>
                </p:cNvPr>
                <p:cNvSpPr/>
                <p:nvPr/>
              </p:nvSpPr>
              <p:spPr>
                <a:xfrm>
                  <a:off x="8676452" y="2058690"/>
                  <a:ext cx="1008113" cy="251086"/>
                </a:xfrm>
                <a:prstGeom prst="roundRect">
                  <a:avLst/>
                </a:prstGeom>
                <a:solidFill>
                  <a:srgbClr val="C5DE89"/>
                </a:solidFill>
                <a:ln>
                  <a:solidFill>
                    <a:schemeClr val="tx1">
                      <a:lumMod val="95000"/>
                      <a:lumOff val="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0000" tIns="46800" rIns="90000" bIns="468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spcBef>
                      <a:spcPts val="600"/>
                    </a:spcBef>
                  </a:pPr>
                  <a:r>
                    <a:rPr lang="en-US" b="1" dirty="0">
                      <a:solidFill>
                        <a:schemeClr val="tx1"/>
                      </a:solidFill>
                    </a:rPr>
                    <a:t>Funnel C</a:t>
                  </a:r>
                  <a:endParaRPr lang="en-IN" b="1" dirty="0" err="1">
                    <a:solidFill>
                      <a:schemeClr val="tx1"/>
                    </a:solidFill>
                  </a:endParaRPr>
                </a:p>
              </p:txBody>
            </p:sp>
          </p:grpSp>
        </p:grpSp>
      </p:grpSp>
    </p:spTree>
    <p:extLst>
      <p:ext uri="{BB962C8B-B14F-4D97-AF65-F5344CB8AC3E}">
        <p14:creationId xmlns:p14="http://schemas.microsoft.com/office/powerpoint/2010/main" val="1641672858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6917B1AA-C77C-27E6-39CB-CA8053A608D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n-US" dirty="0">
                <a:solidFill>
                  <a:srgbClr val="000000"/>
                </a:solidFill>
              </a:rPr>
              <a:t>12.11.2025</a:t>
            </a:r>
          </a:p>
          <a:p>
            <a:pPr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C3164C1-7FC7-AFD7-B1B0-FC586C34581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FE11F066-C7D3-4B2D-BC7E-EC0D86AF6BBF}" type="slidenum">
              <a:rPr lang="de-DE" smtClean="0">
                <a:solidFill>
                  <a:srgbClr val="000000"/>
                </a:solidFill>
              </a:rPr>
              <a:pPr>
                <a:defRPr/>
              </a:pPr>
              <a:t>16</a:t>
            </a:fld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10D745CB-DE04-D4A4-ADC4-F5F57E7CC3A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erformance evaluation based on the success rates obtained from the validation of all three stator geometries.</a:t>
            </a:r>
            <a:endParaRPr lang="en-IN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EEEF9AA-249A-39F1-3402-844F85EF02F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defRPr/>
            </a:pPr>
            <a:r>
              <a:rPr lang="de-DE" dirty="0">
                <a:solidFill>
                  <a:srgbClr val="000000"/>
                </a:solidFill>
              </a:rPr>
              <a:t>Alen Sebastian – Development of a Parametric tool for Automated Slot Insulation Insertion in Small scale Electric Stator Production</a:t>
            </a:r>
          </a:p>
          <a:p>
            <a:pPr>
              <a:defRPr/>
            </a:pPr>
            <a:endParaRPr lang="de-DE" dirty="0">
              <a:solidFill>
                <a:srgbClr val="000000"/>
              </a:solidFill>
            </a:endParaRP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86BD596F-7583-E90C-9086-C4C191DB0CCC}"/>
              </a:ext>
            </a:extLst>
          </p:cNvPr>
          <p:cNvGrpSpPr/>
          <p:nvPr/>
        </p:nvGrpSpPr>
        <p:grpSpPr>
          <a:xfrm>
            <a:off x="1703512" y="993137"/>
            <a:ext cx="9145016" cy="3083935"/>
            <a:chOff x="1703512" y="1160184"/>
            <a:chExt cx="9145016" cy="2844880"/>
          </a:xfrm>
        </p:grpSpPr>
        <p:graphicFrame>
          <p:nvGraphicFramePr>
            <p:cNvPr id="10" name="Diagramm 6">
              <a:extLst>
                <a:ext uri="{FF2B5EF4-FFF2-40B4-BE49-F238E27FC236}">
                  <a16:creationId xmlns:a16="http://schemas.microsoft.com/office/drawing/2014/main" id="{0253F660-458D-4F42-80D7-A78F30A724B0}"/>
                </a:ext>
              </a:extLst>
            </p:cNvPr>
            <p:cNvGraphicFramePr/>
            <p:nvPr>
              <p:extLst>
                <p:ext uri="{D42A27DB-BD31-4B8C-83A1-F6EECF244321}">
                  <p14:modId xmlns:p14="http://schemas.microsoft.com/office/powerpoint/2010/main" val="1144481506"/>
                </p:ext>
              </p:extLst>
            </p:nvPr>
          </p:nvGraphicFramePr>
          <p:xfrm>
            <a:off x="1703512" y="1193016"/>
            <a:ext cx="4248472" cy="2772872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3"/>
            </a:graphicData>
          </a:graphic>
        </p:graphicFrame>
        <p:graphicFrame>
          <p:nvGraphicFramePr>
            <p:cNvPr id="11" name="Diagramm 7">
              <a:extLst>
                <a:ext uri="{FF2B5EF4-FFF2-40B4-BE49-F238E27FC236}">
                  <a16:creationId xmlns:a16="http://schemas.microsoft.com/office/drawing/2014/main" id="{A15C92F9-108B-471E-9437-85FDD8FAFEF4}"/>
                </a:ext>
              </a:extLst>
            </p:cNvPr>
            <p:cNvGraphicFramePr/>
            <p:nvPr>
              <p:extLst>
                <p:ext uri="{D42A27DB-BD31-4B8C-83A1-F6EECF244321}">
                  <p14:modId xmlns:p14="http://schemas.microsoft.com/office/powerpoint/2010/main" val="727446070"/>
                </p:ext>
              </p:extLst>
            </p:nvPr>
          </p:nvGraphicFramePr>
          <p:xfrm>
            <a:off x="6672064" y="1160184"/>
            <a:ext cx="4176464" cy="2844880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4"/>
            </a:graphicData>
          </a:graphic>
        </p:graphicFrame>
      </p:grpSp>
      <p:sp>
        <p:nvSpPr>
          <p:cNvPr id="6" name="TextBox 5">
            <a:extLst>
              <a:ext uri="{FF2B5EF4-FFF2-40B4-BE49-F238E27FC236}">
                <a16:creationId xmlns:a16="http://schemas.microsoft.com/office/drawing/2014/main" id="{1FBA0BF7-E04E-6F0C-4AA7-77C03CFAAAF5}"/>
              </a:ext>
            </a:extLst>
          </p:cNvPr>
          <p:cNvSpPr txBox="1"/>
          <p:nvPr/>
        </p:nvSpPr>
        <p:spPr>
          <a:xfrm>
            <a:off x="1127448" y="4221088"/>
            <a:ext cx="10224760" cy="194421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285750" indent="-285750">
              <a:buClr>
                <a:srgbClr val="97C139"/>
              </a:buClr>
              <a:buFont typeface="Arial" panose="020B0604020202020204" pitchFamily="34" charset="0"/>
              <a:buChar char="•"/>
            </a:pPr>
            <a:r>
              <a:rPr lang="en-US" sz="1600" dirty="0"/>
              <a:t> 260 insertion trials were conducted across three stators (A:100, B:100, C:60) to evaluate reliability and repeatability.</a:t>
            </a:r>
          </a:p>
          <a:p>
            <a:pPr marL="285750" indent="-285750">
              <a:buClr>
                <a:srgbClr val="97C139"/>
              </a:buClr>
              <a:buFont typeface="Arial" panose="020B0604020202020204" pitchFamily="34" charset="0"/>
              <a:buChar char="•"/>
            </a:pPr>
            <a:r>
              <a:rPr lang="en-US" sz="1600" dirty="0"/>
              <a:t>Preliminary trials for Stators A &amp; B identified issues and refined parameters; Stator C tested directly with optimized settings.</a:t>
            </a:r>
          </a:p>
          <a:p>
            <a:pPr marL="285750" indent="-285750">
              <a:buClr>
                <a:srgbClr val="97C139"/>
              </a:buClr>
              <a:buFont typeface="Arial" panose="020B0604020202020204" pitchFamily="34" charset="0"/>
              <a:buChar char="•"/>
            </a:pPr>
            <a:r>
              <a:rPr lang="en-US" sz="1600" dirty="0"/>
              <a:t>Detailed records of defects and failure modes provided critical data for further system improvement.</a:t>
            </a:r>
          </a:p>
          <a:p>
            <a:pPr marL="285750" indent="-285750">
              <a:buClr>
                <a:srgbClr val="97C139"/>
              </a:buClr>
              <a:buFont typeface="Arial" panose="020B0604020202020204" pitchFamily="34" charset="0"/>
              <a:buChar char="•"/>
            </a:pPr>
            <a:r>
              <a:rPr lang="en-US" sz="1600" dirty="0"/>
              <a:t>The parametric insertion setup delivers consistent, repeatable, and robust liner placement, achieving a 97% success rate for Stators A and B, and 100% for Stator C</a:t>
            </a:r>
          </a:p>
          <a:p>
            <a:pPr marL="285750" indent="-285750">
              <a:buClr>
                <a:srgbClr val="97C139"/>
              </a:buClr>
              <a:buFont typeface="Arial" panose="020B0604020202020204" pitchFamily="34" charset="0"/>
              <a:buChar char="•"/>
            </a:pPr>
            <a:endParaRPr lang="en-IN" dirty="0" err="1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DDF84DB4-2067-CD03-FF3C-95D9217DF77F}"/>
              </a:ext>
            </a:extLst>
          </p:cNvPr>
          <p:cNvSpPr/>
          <p:nvPr/>
        </p:nvSpPr>
        <p:spPr>
          <a:xfrm>
            <a:off x="3647728" y="2924944"/>
            <a:ext cx="648072" cy="792088"/>
          </a:xfrm>
          <a:prstGeom prst="rect">
            <a:avLst/>
          </a:prstGeom>
          <a:solidFill>
            <a:srgbClr val="97C13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0000" tIns="46800" rIns="90000" bIns="468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600"/>
              </a:spcBef>
            </a:pPr>
            <a:endParaRPr lang="en-IN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08055166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BC02458F-E77E-0D4A-39D6-C706AC8F543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n-US" dirty="0">
                <a:solidFill>
                  <a:srgbClr val="000000"/>
                </a:solidFill>
              </a:rPr>
              <a:t>12.11.2025</a:t>
            </a:r>
          </a:p>
          <a:p>
            <a:pPr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6653F3D-D03F-DA15-4E66-187D4E0947C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FE11F066-C7D3-4B2D-BC7E-EC0D86AF6BBF}" type="slidenum">
              <a:rPr lang="de-DE" smtClean="0">
                <a:solidFill>
                  <a:srgbClr val="000000"/>
                </a:solidFill>
              </a:rPr>
              <a:pPr>
                <a:defRPr/>
              </a:pPr>
              <a:t>17</a:t>
            </a:fld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30E268DF-A79C-5C80-2D11-5EEA70B8F4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rror analysis and corresponding mitigation measures derived from preliminary trials conducted on the three stator geometries.</a:t>
            </a:r>
            <a:endParaRPr lang="en-IN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EE6E2BE-478A-5E9F-5276-202C3215D42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defRPr/>
            </a:pPr>
            <a:r>
              <a:rPr lang="de-DE" dirty="0">
                <a:solidFill>
                  <a:srgbClr val="000000"/>
                </a:solidFill>
              </a:rPr>
              <a:t>Alen Sebastian – Development of a Parametric tool for Automated Slot Insulation Insertion in Small scale Electric Stator Production</a:t>
            </a:r>
          </a:p>
          <a:p>
            <a:pPr>
              <a:defRPr/>
            </a:pPr>
            <a:endParaRPr lang="de-DE" dirty="0">
              <a:solidFill>
                <a:srgbClr val="000000"/>
              </a:solidFill>
            </a:endParaRPr>
          </a:p>
        </p:txBody>
      </p:sp>
      <p:graphicFrame>
        <p:nvGraphicFramePr>
          <p:cNvPr id="6" name="Diagramm 5">
            <a:extLst>
              <a:ext uri="{FF2B5EF4-FFF2-40B4-BE49-F238E27FC236}">
                <a16:creationId xmlns:a16="http://schemas.microsoft.com/office/drawing/2014/main" id="{F9F7C5CD-1C76-4240-BAB0-D399EC8CD84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862677747"/>
              </p:ext>
            </p:extLst>
          </p:nvPr>
        </p:nvGraphicFramePr>
        <p:xfrm>
          <a:off x="1127448" y="1155576"/>
          <a:ext cx="4536505" cy="26642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7" name="Diagramm 4">
            <a:extLst>
              <a:ext uri="{FF2B5EF4-FFF2-40B4-BE49-F238E27FC236}">
                <a16:creationId xmlns:a16="http://schemas.microsoft.com/office/drawing/2014/main" id="{E4A7E200-73C6-423A-BAFD-5FD3EB1054B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501191654"/>
              </p:ext>
            </p:extLst>
          </p:nvPr>
        </p:nvGraphicFramePr>
        <p:xfrm>
          <a:off x="6105586" y="1258307"/>
          <a:ext cx="4176464" cy="26642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TextBox 7">
            <a:extLst>
              <a:ext uri="{FF2B5EF4-FFF2-40B4-BE49-F238E27FC236}">
                <a16:creationId xmlns:a16="http://schemas.microsoft.com/office/drawing/2014/main" id="{1D7A31D8-BAD0-D27D-BB2F-1A9869D7E1F3}"/>
              </a:ext>
            </a:extLst>
          </p:cNvPr>
          <p:cNvSpPr txBox="1"/>
          <p:nvPr/>
        </p:nvSpPr>
        <p:spPr>
          <a:xfrm>
            <a:off x="950828" y="4025334"/>
            <a:ext cx="10081120" cy="266429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285750" indent="-285750">
              <a:buClr>
                <a:srgbClr val="97C139"/>
              </a:buClr>
              <a:buFont typeface="Arial" panose="020B0604020202020204" pitchFamily="34" charset="0"/>
              <a:buChar char="•"/>
            </a:pPr>
            <a:r>
              <a:rPr lang="en-US" sz="1600" b="1" dirty="0"/>
              <a:t>Stator A:</a:t>
            </a:r>
            <a:r>
              <a:rPr lang="en-US" sz="1600" dirty="0"/>
              <a:t> 8 errors observed (6 pull-back with funnel, 2 misplacement on platform); improvements included standardized gripper handling, deeper insertion with inner finger, and stepwise funnel retraction, raising success rate from 80% to 97%.</a:t>
            </a:r>
          </a:p>
          <a:p>
            <a:pPr marL="285750" indent="-285750">
              <a:buClr>
                <a:srgbClr val="97C139"/>
              </a:buClr>
              <a:buFont typeface="Arial" panose="020B0604020202020204" pitchFamily="34" charset="0"/>
              <a:buChar char="•"/>
            </a:pPr>
            <a:r>
              <a:rPr lang="en-US" sz="1600" b="1" dirty="0"/>
              <a:t>Stator B:</a:t>
            </a:r>
            <a:r>
              <a:rPr lang="en-US" sz="1600" dirty="0"/>
              <a:t> 10 errors observed (9 improper insertion, 1 funnel misalignment); improvements included controlled folding for consistent liner profiles and optimized funnel/gripper handling, increasing success rate from 75% to 97%.</a:t>
            </a:r>
          </a:p>
          <a:p>
            <a:pPr marL="285750" indent="-285750">
              <a:buClr>
                <a:srgbClr val="97C139"/>
              </a:buClr>
              <a:buFont typeface="Arial" panose="020B0604020202020204" pitchFamily="34" charset="0"/>
              <a:buChar char="•"/>
            </a:pPr>
            <a:r>
              <a:rPr lang="en-US" sz="1600" b="1" dirty="0"/>
              <a:t>Stator C:</a:t>
            </a:r>
            <a:r>
              <a:rPr lang="en-US" sz="1600" dirty="0"/>
              <a:t> No errors observed in 60 trials; process performed flawlessly using optimizations from A &amp; B, achieving 100% success even with the most constrained slot geometry.</a:t>
            </a:r>
            <a:endParaRPr lang="en-IN" sz="1600" dirty="0" err="1"/>
          </a:p>
        </p:txBody>
      </p:sp>
    </p:spTree>
    <p:extLst>
      <p:ext uri="{BB962C8B-B14F-4D97-AF65-F5344CB8AC3E}">
        <p14:creationId xmlns:p14="http://schemas.microsoft.com/office/powerpoint/2010/main" val="2871378559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FCF4EC0-20BA-F3E8-B88B-E8490A3808C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n-US" dirty="0">
                <a:solidFill>
                  <a:srgbClr val="000000"/>
                </a:solidFill>
              </a:rPr>
              <a:t>12.11.2025</a:t>
            </a:r>
          </a:p>
          <a:p>
            <a:pPr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209788F-3A70-9654-95A9-297675B960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FE11F066-C7D3-4B2D-BC7E-EC0D86AF6BBF}" type="slidenum">
              <a:rPr lang="de-DE" smtClean="0">
                <a:solidFill>
                  <a:srgbClr val="000000"/>
                </a:solidFill>
              </a:rPr>
              <a:pPr>
                <a:defRPr/>
              </a:pPr>
              <a:t>18</a:t>
            </a:fld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909E4534-7241-780B-ED0B-7B2D597BD2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2217" y="320221"/>
            <a:ext cx="10303200" cy="503238"/>
          </a:xfrm>
        </p:spPr>
        <p:txBody>
          <a:bodyPr/>
          <a:lstStyle/>
          <a:p>
            <a:r>
              <a:rPr lang="en-US" dirty="0"/>
              <a:t>The results provide valuable insights and highlight areas where further improvements can be made to enhance the process and make it more relevant to industry applications.</a:t>
            </a:r>
            <a:endParaRPr lang="en-IN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2E9F3F3-3CB5-D92B-CF22-492719927BF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defRPr/>
            </a:pPr>
            <a:r>
              <a:rPr lang="de-DE" dirty="0">
                <a:solidFill>
                  <a:srgbClr val="000000"/>
                </a:solidFill>
              </a:rPr>
              <a:t>Alen Sebastian – Development of a Parametric tool for Automated Slot Insulation Insertion in Small scale Electric Stator Production</a:t>
            </a:r>
          </a:p>
          <a:p>
            <a:pPr>
              <a:defRPr/>
            </a:pP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55D33509-07C3-5C7B-B715-612408627F20}"/>
              </a:ext>
            </a:extLst>
          </p:cNvPr>
          <p:cNvSpPr/>
          <p:nvPr/>
        </p:nvSpPr>
        <p:spPr>
          <a:xfrm>
            <a:off x="8179228" y="843076"/>
            <a:ext cx="360140" cy="1329903"/>
          </a:xfrm>
          <a:custGeom>
            <a:avLst/>
            <a:gdLst>
              <a:gd name="connsiteX0" fmla="*/ 0 w 360140"/>
              <a:gd name="connsiteY0" fmla="*/ 0 h 1329903"/>
              <a:gd name="connsiteX1" fmla="*/ 360140 w 360140"/>
              <a:gd name="connsiteY1" fmla="*/ 0 h 1329903"/>
              <a:gd name="connsiteX2" fmla="*/ 360140 w 360140"/>
              <a:gd name="connsiteY2" fmla="*/ 1329903 h 1329903"/>
              <a:gd name="connsiteX3" fmla="*/ 0 w 360140"/>
              <a:gd name="connsiteY3" fmla="*/ 1329903 h 1329903"/>
              <a:gd name="connsiteX4" fmla="*/ 0 w 360140"/>
              <a:gd name="connsiteY4" fmla="*/ 0 h 13299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60140" h="1329903">
                <a:moveTo>
                  <a:pt x="0" y="0"/>
                </a:moveTo>
                <a:lnTo>
                  <a:pt x="360140" y="0"/>
                </a:lnTo>
                <a:lnTo>
                  <a:pt x="360140" y="1329903"/>
                </a:lnTo>
                <a:lnTo>
                  <a:pt x="0" y="1329903"/>
                </a:lnTo>
                <a:lnTo>
                  <a:pt x="0" y="0"/>
                </a:lnTo>
                <a:close/>
              </a:path>
            </a:pathLst>
          </a:cu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22860" tIns="11430" rIns="22860" bIns="11430" numCol="1" spcCol="1270" anchor="ctr" anchorCtr="0">
            <a:noAutofit/>
          </a:bodyPr>
          <a:lstStyle/>
          <a:p>
            <a:pPr marL="0" lvl="0" indent="0" algn="l" defTabSz="4000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endParaRPr lang="en-IN" sz="900" kern="1200"/>
          </a:p>
        </p:txBody>
      </p:sp>
      <p:sp>
        <p:nvSpPr>
          <p:cNvPr id="9" name="Freeform: Shape 8">
            <a:extLst>
              <a:ext uri="{FF2B5EF4-FFF2-40B4-BE49-F238E27FC236}">
                <a16:creationId xmlns:a16="http://schemas.microsoft.com/office/drawing/2014/main" id="{408ED79C-AB64-4189-95AF-21FEAD9AEDAE}"/>
              </a:ext>
            </a:extLst>
          </p:cNvPr>
          <p:cNvSpPr/>
          <p:nvPr/>
        </p:nvSpPr>
        <p:spPr>
          <a:xfrm>
            <a:off x="3705513" y="2951888"/>
            <a:ext cx="2973467" cy="2955340"/>
          </a:xfrm>
          <a:custGeom>
            <a:avLst/>
            <a:gdLst>
              <a:gd name="connsiteX0" fmla="*/ 0 w 2973467"/>
              <a:gd name="connsiteY0" fmla="*/ 0 h 2955340"/>
              <a:gd name="connsiteX1" fmla="*/ 2973467 w 2973467"/>
              <a:gd name="connsiteY1" fmla="*/ 0 h 2955340"/>
              <a:gd name="connsiteX2" fmla="*/ 2973467 w 2973467"/>
              <a:gd name="connsiteY2" fmla="*/ 2955340 h 2955340"/>
              <a:gd name="connsiteX3" fmla="*/ 0 w 2973467"/>
              <a:gd name="connsiteY3" fmla="*/ 2955340 h 2955340"/>
              <a:gd name="connsiteX4" fmla="*/ 0 w 2973467"/>
              <a:gd name="connsiteY4" fmla="*/ 0 h 29553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973467" h="2955340">
                <a:moveTo>
                  <a:pt x="0" y="0"/>
                </a:moveTo>
                <a:lnTo>
                  <a:pt x="2973467" y="0"/>
                </a:lnTo>
                <a:lnTo>
                  <a:pt x="2973467" y="2955340"/>
                </a:lnTo>
                <a:lnTo>
                  <a:pt x="0" y="2955340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sp3d/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165100" tIns="165100" rIns="165100" bIns="165100" numCol="1" spcCol="1270" anchor="b" anchorCtr="0">
            <a:noAutofit/>
          </a:bodyPr>
          <a:lstStyle/>
          <a:p>
            <a:pPr marL="0" lvl="0" indent="0" algn="l" defTabSz="28892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endParaRPr lang="en-IN" sz="6500" kern="1200"/>
          </a:p>
        </p:txBody>
      </p:sp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48F65866-C244-1ED8-8B59-5E9D385D48EB}"/>
              </a:ext>
            </a:extLst>
          </p:cNvPr>
          <p:cNvSpPr/>
          <p:nvPr/>
        </p:nvSpPr>
        <p:spPr>
          <a:xfrm>
            <a:off x="8077644" y="2501691"/>
            <a:ext cx="360140" cy="1329903"/>
          </a:xfrm>
          <a:custGeom>
            <a:avLst/>
            <a:gdLst>
              <a:gd name="connsiteX0" fmla="*/ 0 w 360140"/>
              <a:gd name="connsiteY0" fmla="*/ 0 h 1329903"/>
              <a:gd name="connsiteX1" fmla="*/ 360140 w 360140"/>
              <a:gd name="connsiteY1" fmla="*/ 0 h 1329903"/>
              <a:gd name="connsiteX2" fmla="*/ 360140 w 360140"/>
              <a:gd name="connsiteY2" fmla="*/ 1329903 h 1329903"/>
              <a:gd name="connsiteX3" fmla="*/ 0 w 360140"/>
              <a:gd name="connsiteY3" fmla="*/ 1329903 h 1329903"/>
              <a:gd name="connsiteX4" fmla="*/ 0 w 360140"/>
              <a:gd name="connsiteY4" fmla="*/ 0 h 13299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60140" h="1329903">
                <a:moveTo>
                  <a:pt x="0" y="0"/>
                </a:moveTo>
                <a:lnTo>
                  <a:pt x="360140" y="0"/>
                </a:lnTo>
                <a:lnTo>
                  <a:pt x="360140" y="1329903"/>
                </a:lnTo>
                <a:lnTo>
                  <a:pt x="0" y="1329903"/>
                </a:lnTo>
                <a:lnTo>
                  <a:pt x="0" y="0"/>
                </a:lnTo>
                <a:close/>
              </a:path>
            </a:pathLst>
          </a:cu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22860" tIns="11430" rIns="22860" bIns="11430" numCol="1" spcCol="1270" anchor="ctr" anchorCtr="0">
            <a:noAutofit/>
          </a:bodyPr>
          <a:lstStyle/>
          <a:p>
            <a:pPr marL="0" lvl="0" indent="0" algn="l" defTabSz="4000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endParaRPr lang="en-IN" sz="900" kern="1200"/>
          </a:p>
        </p:txBody>
      </p:sp>
      <p:sp>
        <p:nvSpPr>
          <p:cNvPr id="15" name="Freeform: Shape 14">
            <a:extLst>
              <a:ext uri="{FF2B5EF4-FFF2-40B4-BE49-F238E27FC236}">
                <a16:creationId xmlns:a16="http://schemas.microsoft.com/office/drawing/2014/main" id="{FFAB115F-EA5A-5D4B-3E77-C611A7BA778C}"/>
              </a:ext>
            </a:extLst>
          </p:cNvPr>
          <p:cNvSpPr/>
          <p:nvPr/>
        </p:nvSpPr>
        <p:spPr>
          <a:xfrm>
            <a:off x="8077644" y="4070977"/>
            <a:ext cx="360140" cy="1329903"/>
          </a:xfrm>
          <a:custGeom>
            <a:avLst/>
            <a:gdLst>
              <a:gd name="connsiteX0" fmla="*/ 0 w 360140"/>
              <a:gd name="connsiteY0" fmla="*/ 0 h 1329903"/>
              <a:gd name="connsiteX1" fmla="*/ 360140 w 360140"/>
              <a:gd name="connsiteY1" fmla="*/ 0 h 1329903"/>
              <a:gd name="connsiteX2" fmla="*/ 360140 w 360140"/>
              <a:gd name="connsiteY2" fmla="*/ 1329903 h 1329903"/>
              <a:gd name="connsiteX3" fmla="*/ 0 w 360140"/>
              <a:gd name="connsiteY3" fmla="*/ 1329903 h 1329903"/>
              <a:gd name="connsiteX4" fmla="*/ 0 w 360140"/>
              <a:gd name="connsiteY4" fmla="*/ 0 h 13299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60140" h="1329903">
                <a:moveTo>
                  <a:pt x="0" y="0"/>
                </a:moveTo>
                <a:lnTo>
                  <a:pt x="360140" y="0"/>
                </a:lnTo>
                <a:lnTo>
                  <a:pt x="360140" y="1329903"/>
                </a:lnTo>
                <a:lnTo>
                  <a:pt x="0" y="1329903"/>
                </a:lnTo>
                <a:lnTo>
                  <a:pt x="0" y="0"/>
                </a:lnTo>
                <a:close/>
              </a:path>
            </a:pathLst>
          </a:cu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22860" tIns="11430" rIns="22860" bIns="11430" numCol="1" spcCol="1270" anchor="ctr" anchorCtr="0">
            <a:noAutofit/>
          </a:bodyPr>
          <a:lstStyle/>
          <a:p>
            <a:pPr marL="0" lvl="0" indent="0" algn="l" defTabSz="4000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endParaRPr lang="en-IN" sz="900" kern="1200"/>
          </a:p>
        </p:txBody>
      </p:sp>
      <p:sp>
        <p:nvSpPr>
          <p:cNvPr id="29" name="Freeform: Shape 28">
            <a:extLst>
              <a:ext uri="{FF2B5EF4-FFF2-40B4-BE49-F238E27FC236}">
                <a16:creationId xmlns:a16="http://schemas.microsoft.com/office/drawing/2014/main" id="{45CC111E-E2AE-47C6-7283-20752A5A913F}"/>
              </a:ext>
            </a:extLst>
          </p:cNvPr>
          <p:cNvSpPr/>
          <p:nvPr/>
        </p:nvSpPr>
        <p:spPr>
          <a:xfrm>
            <a:off x="2440326" y="3818038"/>
            <a:ext cx="2572007" cy="1638714"/>
          </a:xfrm>
          <a:custGeom>
            <a:avLst/>
            <a:gdLst>
              <a:gd name="connsiteX0" fmla="*/ 0 w 1820800"/>
              <a:gd name="connsiteY0" fmla="*/ 787603 h 1575206"/>
              <a:gd name="connsiteX1" fmla="*/ 450036 w 1820800"/>
              <a:gd name="connsiteY1" fmla="*/ 0 h 1575206"/>
              <a:gd name="connsiteX2" fmla="*/ 1370764 w 1820800"/>
              <a:gd name="connsiteY2" fmla="*/ 0 h 1575206"/>
              <a:gd name="connsiteX3" fmla="*/ 1820800 w 1820800"/>
              <a:gd name="connsiteY3" fmla="*/ 787603 h 1575206"/>
              <a:gd name="connsiteX4" fmla="*/ 1370764 w 1820800"/>
              <a:gd name="connsiteY4" fmla="*/ 1575206 h 1575206"/>
              <a:gd name="connsiteX5" fmla="*/ 450036 w 1820800"/>
              <a:gd name="connsiteY5" fmla="*/ 1575206 h 1575206"/>
              <a:gd name="connsiteX6" fmla="*/ 0 w 1820800"/>
              <a:gd name="connsiteY6" fmla="*/ 787603 h 15752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820800" h="1575206">
                <a:moveTo>
                  <a:pt x="0" y="787603"/>
                </a:moveTo>
                <a:lnTo>
                  <a:pt x="450036" y="0"/>
                </a:lnTo>
                <a:lnTo>
                  <a:pt x="1370764" y="0"/>
                </a:lnTo>
                <a:lnTo>
                  <a:pt x="1820800" y="787603"/>
                </a:lnTo>
                <a:lnTo>
                  <a:pt x="1370764" y="1575206"/>
                </a:lnTo>
                <a:lnTo>
                  <a:pt x="450036" y="1575206"/>
                </a:lnTo>
                <a:lnTo>
                  <a:pt x="0" y="787603"/>
                </a:lnTo>
                <a:close/>
              </a:path>
            </a:pathLst>
          </a:custGeom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348735" tIns="308035" rIns="348735" bIns="308035" numCol="1" spcCol="1270" anchor="ctr" anchorCtr="0">
            <a:noAutofit/>
          </a:bodyPr>
          <a:lstStyle/>
          <a:p>
            <a:pPr algn="ctr" defTabSz="16446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dirty="0">
                <a:solidFill>
                  <a:schemeClr val="tx1"/>
                </a:solidFill>
              </a:rPr>
              <a:t>Integrating the slot liner dispenser with rotating clamp reduces cycle time.</a:t>
            </a:r>
            <a:endParaRPr lang="en-IN" dirty="0">
              <a:solidFill>
                <a:schemeClr val="tx1"/>
              </a:solidFill>
            </a:endParaRPr>
          </a:p>
        </p:txBody>
      </p:sp>
      <p:sp>
        <p:nvSpPr>
          <p:cNvPr id="21" name="Freeform: Shape 20">
            <a:extLst>
              <a:ext uri="{FF2B5EF4-FFF2-40B4-BE49-F238E27FC236}">
                <a16:creationId xmlns:a16="http://schemas.microsoft.com/office/drawing/2014/main" id="{5ECD66EC-ACEB-801B-81BC-C4106DD1A7CC}"/>
              </a:ext>
            </a:extLst>
          </p:cNvPr>
          <p:cNvSpPr/>
          <p:nvPr/>
        </p:nvSpPr>
        <p:spPr>
          <a:xfrm>
            <a:off x="4508523" y="1000186"/>
            <a:ext cx="2572008" cy="1666929"/>
          </a:xfrm>
          <a:custGeom>
            <a:avLst/>
            <a:gdLst>
              <a:gd name="connsiteX0" fmla="*/ 0 w 1820800"/>
              <a:gd name="connsiteY0" fmla="*/ 787603 h 1575206"/>
              <a:gd name="connsiteX1" fmla="*/ 450036 w 1820800"/>
              <a:gd name="connsiteY1" fmla="*/ 0 h 1575206"/>
              <a:gd name="connsiteX2" fmla="*/ 1370764 w 1820800"/>
              <a:gd name="connsiteY2" fmla="*/ 0 h 1575206"/>
              <a:gd name="connsiteX3" fmla="*/ 1820800 w 1820800"/>
              <a:gd name="connsiteY3" fmla="*/ 787603 h 1575206"/>
              <a:gd name="connsiteX4" fmla="*/ 1370764 w 1820800"/>
              <a:gd name="connsiteY4" fmla="*/ 1575206 h 1575206"/>
              <a:gd name="connsiteX5" fmla="*/ 450036 w 1820800"/>
              <a:gd name="connsiteY5" fmla="*/ 1575206 h 1575206"/>
              <a:gd name="connsiteX6" fmla="*/ 0 w 1820800"/>
              <a:gd name="connsiteY6" fmla="*/ 787603 h 15752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820800" h="1575206">
                <a:moveTo>
                  <a:pt x="0" y="787603"/>
                </a:moveTo>
                <a:lnTo>
                  <a:pt x="450036" y="0"/>
                </a:lnTo>
                <a:lnTo>
                  <a:pt x="1370764" y="0"/>
                </a:lnTo>
                <a:lnTo>
                  <a:pt x="1820800" y="787603"/>
                </a:lnTo>
                <a:lnTo>
                  <a:pt x="1370764" y="1575206"/>
                </a:lnTo>
                <a:lnTo>
                  <a:pt x="450036" y="1575206"/>
                </a:lnTo>
                <a:lnTo>
                  <a:pt x="0" y="787603"/>
                </a:lnTo>
                <a:close/>
              </a:path>
            </a:pathLst>
          </a:custGeom>
          <a:solidFill>
            <a:srgbClr val="C5DE89"/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348735" tIns="308035" rIns="348735" bIns="308035" numCol="1" spcCol="1270" anchor="ctr" anchorCtr="0">
            <a:noAutofit/>
          </a:bodyPr>
          <a:lstStyle/>
          <a:p>
            <a:pPr lvl="0" algn="ctr" defTabSz="16446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dirty="0">
                <a:solidFill>
                  <a:schemeClr val="tx1"/>
                </a:solidFill>
              </a:rPr>
              <a:t>The funnel is highly cost effective to produce, using about 30 g of PLA and costing under one euro.</a:t>
            </a:r>
            <a:endParaRPr lang="en-IN" kern="1200" dirty="0">
              <a:solidFill>
                <a:schemeClr val="tx1"/>
              </a:solidFill>
            </a:endParaRPr>
          </a:p>
        </p:txBody>
      </p:sp>
      <p:sp>
        <p:nvSpPr>
          <p:cNvPr id="23" name="Freeform: Shape 22">
            <a:extLst>
              <a:ext uri="{FF2B5EF4-FFF2-40B4-BE49-F238E27FC236}">
                <a16:creationId xmlns:a16="http://schemas.microsoft.com/office/drawing/2014/main" id="{92D0C9E6-548E-644E-FD9B-C84AD846E6D0}"/>
              </a:ext>
            </a:extLst>
          </p:cNvPr>
          <p:cNvSpPr/>
          <p:nvPr/>
        </p:nvSpPr>
        <p:spPr>
          <a:xfrm>
            <a:off x="4598915" y="4750064"/>
            <a:ext cx="2533232" cy="1735512"/>
          </a:xfrm>
          <a:custGeom>
            <a:avLst/>
            <a:gdLst>
              <a:gd name="connsiteX0" fmla="*/ 0 w 1820800"/>
              <a:gd name="connsiteY0" fmla="*/ 787603 h 1575206"/>
              <a:gd name="connsiteX1" fmla="*/ 450036 w 1820800"/>
              <a:gd name="connsiteY1" fmla="*/ 0 h 1575206"/>
              <a:gd name="connsiteX2" fmla="*/ 1370764 w 1820800"/>
              <a:gd name="connsiteY2" fmla="*/ 0 h 1575206"/>
              <a:gd name="connsiteX3" fmla="*/ 1820800 w 1820800"/>
              <a:gd name="connsiteY3" fmla="*/ 787603 h 1575206"/>
              <a:gd name="connsiteX4" fmla="*/ 1370764 w 1820800"/>
              <a:gd name="connsiteY4" fmla="*/ 1575206 h 1575206"/>
              <a:gd name="connsiteX5" fmla="*/ 450036 w 1820800"/>
              <a:gd name="connsiteY5" fmla="*/ 1575206 h 1575206"/>
              <a:gd name="connsiteX6" fmla="*/ 0 w 1820800"/>
              <a:gd name="connsiteY6" fmla="*/ 787603 h 15752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820800" h="1575206">
                <a:moveTo>
                  <a:pt x="0" y="787603"/>
                </a:moveTo>
                <a:lnTo>
                  <a:pt x="450036" y="0"/>
                </a:lnTo>
                <a:lnTo>
                  <a:pt x="1370764" y="0"/>
                </a:lnTo>
                <a:lnTo>
                  <a:pt x="1820800" y="787603"/>
                </a:lnTo>
                <a:lnTo>
                  <a:pt x="1370764" y="1575206"/>
                </a:lnTo>
                <a:lnTo>
                  <a:pt x="450036" y="1575206"/>
                </a:lnTo>
                <a:lnTo>
                  <a:pt x="0" y="787603"/>
                </a:lnTo>
                <a:close/>
              </a:path>
            </a:pathLst>
          </a:custGeom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348735" tIns="308035" rIns="348735" bIns="308035" numCol="1" spcCol="1270" anchor="ctr" anchorCtr="0">
            <a:noAutofit/>
          </a:bodyPr>
          <a:lstStyle/>
          <a:p>
            <a:pPr algn="ctr" defTabSz="16446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dirty="0">
                <a:solidFill>
                  <a:schemeClr val="tx1"/>
                </a:solidFill>
              </a:rPr>
              <a:t>Average cycle time ~39.8 s, further reduction possible through motion optimization.</a:t>
            </a:r>
          </a:p>
        </p:txBody>
      </p:sp>
      <p:sp>
        <p:nvSpPr>
          <p:cNvPr id="25" name="Freeform: Shape 24">
            <a:extLst>
              <a:ext uri="{FF2B5EF4-FFF2-40B4-BE49-F238E27FC236}">
                <a16:creationId xmlns:a16="http://schemas.microsoft.com/office/drawing/2014/main" id="{8800F374-7BBE-CDB6-D52D-DEC51FFCB59C}"/>
              </a:ext>
            </a:extLst>
          </p:cNvPr>
          <p:cNvSpPr/>
          <p:nvPr/>
        </p:nvSpPr>
        <p:spPr>
          <a:xfrm>
            <a:off x="6702674" y="1927849"/>
            <a:ext cx="2502357" cy="1646070"/>
          </a:xfrm>
          <a:custGeom>
            <a:avLst/>
            <a:gdLst>
              <a:gd name="connsiteX0" fmla="*/ 0 w 1820800"/>
              <a:gd name="connsiteY0" fmla="*/ 787603 h 1575206"/>
              <a:gd name="connsiteX1" fmla="*/ 450036 w 1820800"/>
              <a:gd name="connsiteY1" fmla="*/ 0 h 1575206"/>
              <a:gd name="connsiteX2" fmla="*/ 1370764 w 1820800"/>
              <a:gd name="connsiteY2" fmla="*/ 0 h 1575206"/>
              <a:gd name="connsiteX3" fmla="*/ 1820800 w 1820800"/>
              <a:gd name="connsiteY3" fmla="*/ 787603 h 1575206"/>
              <a:gd name="connsiteX4" fmla="*/ 1370764 w 1820800"/>
              <a:gd name="connsiteY4" fmla="*/ 1575206 h 1575206"/>
              <a:gd name="connsiteX5" fmla="*/ 450036 w 1820800"/>
              <a:gd name="connsiteY5" fmla="*/ 1575206 h 1575206"/>
              <a:gd name="connsiteX6" fmla="*/ 0 w 1820800"/>
              <a:gd name="connsiteY6" fmla="*/ 787603 h 15752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820800" h="1575206">
                <a:moveTo>
                  <a:pt x="0" y="787603"/>
                </a:moveTo>
                <a:lnTo>
                  <a:pt x="450036" y="0"/>
                </a:lnTo>
                <a:lnTo>
                  <a:pt x="1370764" y="0"/>
                </a:lnTo>
                <a:lnTo>
                  <a:pt x="1820800" y="787603"/>
                </a:lnTo>
                <a:lnTo>
                  <a:pt x="1370764" y="1575206"/>
                </a:lnTo>
                <a:lnTo>
                  <a:pt x="450036" y="1575206"/>
                </a:lnTo>
                <a:lnTo>
                  <a:pt x="0" y="787603"/>
                </a:lnTo>
                <a:close/>
              </a:path>
            </a:pathLst>
          </a:custGeom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348735" tIns="308035" rIns="348735" bIns="308035" numCol="1" spcCol="1270" anchor="ctr" anchorCtr="0">
            <a:noAutofit/>
          </a:bodyPr>
          <a:lstStyle/>
          <a:p>
            <a:pPr algn="ctr" defTabSz="16446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dirty="0">
                <a:solidFill>
                  <a:schemeClr val="tx1"/>
                </a:solidFill>
              </a:rPr>
              <a:t>Performance depends heavily on slot liner geometry</a:t>
            </a:r>
            <a:endParaRPr lang="en-IN" kern="1200" dirty="0">
              <a:solidFill>
                <a:schemeClr val="tx1"/>
              </a:solidFill>
            </a:endParaRPr>
          </a:p>
        </p:txBody>
      </p:sp>
      <p:sp>
        <p:nvSpPr>
          <p:cNvPr id="30" name="Freeform: Shape 29">
            <a:extLst>
              <a:ext uri="{FF2B5EF4-FFF2-40B4-BE49-F238E27FC236}">
                <a16:creationId xmlns:a16="http://schemas.microsoft.com/office/drawing/2014/main" id="{024F9A3A-3D9B-8967-16E0-E737666A4B8E}"/>
              </a:ext>
            </a:extLst>
          </p:cNvPr>
          <p:cNvSpPr/>
          <p:nvPr/>
        </p:nvSpPr>
        <p:spPr>
          <a:xfrm>
            <a:off x="2440326" y="1953097"/>
            <a:ext cx="2533232" cy="1656075"/>
          </a:xfrm>
          <a:custGeom>
            <a:avLst/>
            <a:gdLst>
              <a:gd name="connsiteX0" fmla="*/ 0 w 1820800"/>
              <a:gd name="connsiteY0" fmla="*/ 787603 h 1575206"/>
              <a:gd name="connsiteX1" fmla="*/ 450036 w 1820800"/>
              <a:gd name="connsiteY1" fmla="*/ 0 h 1575206"/>
              <a:gd name="connsiteX2" fmla="*/ 1370764 w 1820800"/>
              <a:gd name="connsiteY2" fmla="*/ 0 h 1575206"/>
              <a:gd name="connsiteX3" fmla="*/ 1820800 w 1820800"/>
              <a:gd name="connsiteY3" fmla="*/ 787603 h 1575206"/>
              <a:gd name="connsiteX4" fmla="*/ 1370764 w 1820800"/>
              <a:gd name="connsiteY4" fmla="*/ 1575206 h 1575206"/>
              <a:gd name="connsiteX5" fmla="*/ 450036 w 1820800"/>
              <a:gd name="connsiteY5" fmla="*/ 1575206 h 1575206"/>
              <a:gd name="connsiteX6" fmla="*/ 0 w 1820800"/>
              <a:gd name="connsiteY6" fmla="*/ 787603 h 15752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820800" h="1575206">
                <a:moveTo>
                  <a:pt x="0" y="787603"/>
                </a:moveTo>
                <a:lnTo>
                  <a:pt x="450036" y="0"/>
                </a:lnTo>
                <a:lnTo>
                  <a:pt x="1370764" y="0"/>
                </a:lnTo>
                <a:lnTo>
                  <a:pt x="1820800" y="787603"/>
                </a:lnTo>
                <a:lnTo>
                  <a:pt x="1370764" y="1575206"/>
                </a:lnTo>
                <a:lnTo>
                  <a:pt x="450036" y="1575206"/>
                </a:lnTo>
                <a:lnTo>
                  <a:pt x="0" y="787603"/>
                </a:lnTo>
                <a:close/>
              </a:path>
            </a:pathLst>
          </a:custGeom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348735" tIns="308035" rIns="348735" bIns="308035" numCol="1" spcCol="1270" anchor="ctr" anchorCtr="0">
            <a:noAutofit/>
          </a:bodyPr>
          <a:lstStyle/>
          <a:p>
            <a:pPr lvl="0" algn="ctr" defTabSz="16446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dirty="0">
                <a:solidFill>
                  <a:schemeClr val="tx1"/>
                </a:solidFill>
              </a:rPr>
              <a:t>Adding vision + adaptive feedback can enable full autonomy.</a:t>
            </a:r>
            <a:endParaRPr lang="en-IN" kern="1200" dirty="0">
              <a:solidFill>
                <a:schemeClr val="tx1"/>
              </a:solidFill>
            </a:endParaRPr>
          </a:p>
        </p:txBody>
      </p:sp>
      <p:sp>
        <p:nvSpPr>
          <p:cNvPr id="27" name="Freeform: Shape 26">
            <a:extLst>
              <a:ext uri="{FF2B5EF4-FFF2-40B4-BE49-F238E27FC236}">
                <a16:creationId xmlns:a16="http://schemas.microsoft.com/office/drawing/2014/main" id="{3121FF83-056B-972F-DBD6-6F198DA21B04}"/>
              </a:ext>
            </a:extLst>
          </p:cNvPr>
          <p:cNvSpPr/>
          <p:nvPr/>
        </p:nvSpPr>
        <p:spPr>
          <a:xfrm>
            <a:off x="6754076" y="3787104"/>
            <a:ext cx="2533232" cy="1652533"/>
          </a:xfrm>
          <a:custGeom>
            <a:avLst/>
            <a:gdLst>
              <a:gd name="connsiteX0" fmla="*/ 0 w 1820800"/>
              <a:gd name="connsiteY0" fmla="*/ 787603 h 1575206"/>
              <a:gd name="connsiteX1" fmla="*/ 450036 w 1820800"/>
              <a:gd name="connsiteY1" fmla="*/ 0 h 1575206"/>
              <a:gd name="connsiteX2" fmla="*/ 1370764 w 1820800"/>
              <a:gd name="connsiteY2" fmla="*/ 0 h 1575206"/>
              <a:gd name="connsiteX3" fmla="*/ 1820800 w 1820800"/>
              <a:gd name="connsiteY3" fmla="*/ 787603 h 1575206"/>
              <a:gd name="connsiteX4" fmla="*/ 1370764 w 1820800"/>
              <a:gd name="connsiteY4" fmla="*/ 1575206 h 1575206"/>
              <a:gd name="connsiteX5" fmla="*/ 450036 w 1820800"/>
              <a:gd name="connsiteY5" fmla="*/ 1575206 h 1575206"/>
              <a:gd name="connsiteX6" fmla="*/ 0 w 1820800"/>
              <a:gd name="connsiteY6" fmla="*/ 787603 h 15752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820800" h="1575206">
                <a:moveTo>
                  <a:pt x="0" y="787603"/>
                </a:moveTo>
                <a:lnTo>
                  <a:pt x="450036" y="0"/>
                </a:lnTo>
                <a:lnTo>
                  <a:pt x="1370764" y="0"/>
                </a:lnTo>
                <a:lnTo>
                  <a:pt x="1820800" y="787603"/>
                </a:lnTo>
                <a:lnTo>
                  <a:pt x="1370764" y="1575206"/>
                </a:lnTo>
                <a:lnTo>
                  <a:pt x="450036" y="1575206"/>
                </a:lnTo>
                <a:lnTo>
                  <a:pt x="0" y="787603"/>
                </a:lnTo>
                <a:close/>
              </a:path>
            </a:pathLst>
          </a:custGeom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348735" tIns="308035" rIns="348735" bIns="308035" numCol="1" spcCol="1270" anchor="ctr" anchorCtr="0">
            <a:noAutofit/>
          </a:bodyPr>
          <a:lstStyle/>
          <a:p>
            <a:pPr algn="ctr" defTabSz="16446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dirty="0">
                <a:solidFill>
                  <a:schemeClr val="tx1"/>
                </a:solidFill>
              </a:rPr>
              <a:t>Process currently does not automate folding/creasing of liners</a:t>
            </a:r>
            <a:endParaRPr lang="en-IN" dirty="0">
              <a:solidFill>
                <a:schemeClr val="tx1"/>
              </a:solidFill>
            </a:endParaRPr>
          </a:p>
        </p:txBody>
      </p:sp>
      <p:grpSp>
        <p:nvGrpSpPr>
          <p:cNvPr id="36" name="Group 35">
            <a:extLst>
              <a:ext uri="{FF2B5EF4-FFF2-40B4-BE49-F238E27FC236}">
                <a16:creationId xmlns:a16="http://schemas.microsoft.com/office/drawing/2014/main" id="{3D7F6C08-A7C6-319A-0408-5FB248925E91}"/>
              </a:ext>
            </a:extLst>
          </p:cNvPr>
          <p:cNvGrpSpPr/>
          <p:nvPr/>
        </p:nvGrpSpPr>
        <p:grpSpPr>
          <a:xfrm>
            <a:off x="4598915" y="2899724"/>
            <a:ext cx="2533232" cy="1638714"/>
            <a:chOff x="4812153" y="2724598"/>
            <a:chExt cx="2221862" cy="1922001"/>
          </a:xfrm>
        </p:grpSpPr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3931BA05-7CE5-5273-50E3-C46A96CC27DF}"/>
                </a:ext>
              </a:extLst>
            </p:cNvPr>
            <p:cNvSpPr/>
            <p:nvPr/>
          </p:nvSpPr>
          <p:spPr>
            <a:xfrm>
              <a:off x="4812153" y="2724598"/>
              <a:ext cx="2221862" cy="1922001"/>
            </a:xfrm>
            <a:custGeom>
              <a:avLst/>
              <a:gdLst>
                <a:gd name="connsiteX0" fmla="*/ 0 w 2221862"/>
                <a:gd name="connsiteY0" fmla="*/ 961001 h 1922001"/>
                <a:gd name="connsiteX1" fmla="*/ 549116 w 2221862"/>
                <a:gd name="connsiteY1" fmla="*/ 0 h 1922001"/>
                <a:gd name="connsiteX2" fmla="*/ 1672746 w 2221862"/>
                <a:gd name="connsiteY2" fmla="*/ 0 h 1922001"/>
                <a:gd name="connsiteX3" fmla="*/ 2221862 w 2221862"/>
                <a:gd name="connsiteY3" fmla="*/ 961001 h 1922001"/>
                <a:gd name="connsiteX4" fmla="*/ 1672746 w 2221862"/>
                <a:gd name="connsiteY4" fmla="*/ 1922001 h 1922001"/>
                <a:gd name="connsiteX5" fmla="*/ 549116 w 2221862"/>
                <a:gd name="connsiteY5" fmla="*/ 1922001 h 1922001"/>
                <a:gd name="connsiteX6" fmla="*/ 0 w 2221862"/>
                <a:gd name="connsiteY6" fmla="*/ 961001 h 19220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221862" h="1922001">
                  <a:moveTo>
                    <a:pt x="0" y="961001"/>
                  </a:moveTo>
                  <a:lnTo>
                    <a:pt x="549116" y="0"/>
                  </a:lnTo>
                  <a:lnTo>
                    <a:pt x="1672746" y="0"/>
                  </a:lnTo>
                  <a:lnTo>
                    <a:pt x="2221862" y="961001"/>
                  </a:lnTo>
                  <a:lnTo>
                    <a:pt x="1672746" y="1922001"/>
                  </a:lnTo>
                  <a:lnTo>
                    <a:pt x="549116" y="1922001"/>
                  </a:lnTo>
                  <a:lnTo>
                    <a:pt x="0" y="961001"/>
                  </a:lnTo>
                  <a:close/>
                </a:path>
              </a:pathLst>
            </a:cu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425344" tIns="375653" rIns="425344" bIns="375653" numCol="1" spcCol="1270" anchor="ctr" anchorCtr="0">
              <a:noAutofit/>
            </a:bodyPr>
            <a:lstStyle/>
            <a:p>
              <a:pPr marL="0" lvl="0" indent="0" algn="ctr" defTabSz="20002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endParaRPr lang="en-IN" sz="4500" kern="1200"/>
            </a:p>
          </p:txBody>
        </p:sp>
        <p:pic>
          <p:nvPicPr>
            <p:cNvPr id="33" name="Picture 32" descr="A white object with a handle&#10;&#10;AI-generated content may be incorrect.">
              <a:extLst>
                <a:ext uri="{FF2B5EF4-FFF2-40B4-BE49-F238E27FC236}">
                  <a16:creationId xmlns:a16="http://schemas.microsoft.com/office/drawing/2014/main" id="{30FDA953-706F-F0A7-A7B4-A4379F02118E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5096894" y="3033990"/>
              <a:ext cx="1598567" cy="1276326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90691941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BC1FEA23-A117-C9AD-D293-86B0871E6C4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n-US" dirty="0">
                <a:solidFill>
                  <a:srgbClr val="000000"/>
                </a:solidFill>
              </a:rPr>
              <a:t>12.11.2025</a:t>
            </a:r>
          </a:p>
          <a:p>
            <a:pPr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48CE911C-B860-7899-9FF2-5F3CC0567B8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FE11F066-C7D3-4B2D-BC7E-EC0D86AF6BBF}" type="slidenum">
              <a:rPr lang="de-DE" smtClean="0">
                <a:solidFill>
                  <a:srgbClr val="000000"/>
                </a:solidFill>
              </a:rPr>
              <a:pPr>
                <a:defRPr/>
              </a:pPr>
              <a:t>19</a:t>
            </a:fld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49B6834-8CCC-8947-F069-E6CEF347889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ferences</a:t>
            </a:r>
            <a:endParaRPr lang="en-IN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FC8DACB-7CB4-08D9-C9BC-8942D27F08D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defRPr/>
            </a:pPr>
            <a:r>
              <a:rPr lang="de-DE" dirty="0">
                <a:solidFill>
                  <a:srgbClr val="000000"/>
                </a:solidFill>
              </a:rPr>
              <a:t>Alen Sebastian – Development of a Parametric tool for Automated Slot Insulation Insertion in Small scale Electric Stator Production</a:t>
            </a:r>
          </a:p>
          <a:p>
            <a:pPr>
              <a:defRPr/>
            </a:pP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269C6F8A-C836-4D39-5E8D-CAE83597FB29}"/>
              </a:ext>
            </a:extLst>
          </p:cNvPr>
          <p:cNvSpPr txBox="1"/>
          <p:nvPr/>
        </p:nvSpPr>
        <p:spPr>
          <a:xfrm>
            <a:off x="911423" y="1196752"/>
            <a:ext cx="8831385" cy="2376264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buClr>
                <a:srgbClr val="97C139"/>
              </a:buClr>
            </a:pPr>
            <a:r>
              <a:rPr lang="en-US" dirty="0"/>
              <a:t>[1] IEA (2025), Global electric car sales, 2014-2024, IEA, Paris.</a:t>
            </a:r>
            <a:br>
              <a:rPr lang="en-US" dirty="0"/>
            </a:br>
            <a:r>
              <a:rPr lang="en-US" dirty="0"/>
              <a:t>https://www.iea.org/data-and-statistics/charts/global-electric-car-sales-2014-2024, </a:t>
            </a:r>
            <a:r>
              <a:rPr lang="en-US" dirty="0" err="1"/>
              <a:t>Licence</a:t>
            </a:r>
            <a:r>
              <a:rPr lang="en-US" dirty="0"/>
              <a:t>: CC BY 4.0</a:t>
            </a:r>
          </a:p>
          <a:p>
            <a:pPr>
              <a:buClr>
                <a:srgbClr val="97C139"/>
              </a:buClr>
            </a:pPr>
            <a:r>
              <a:rPr lang="en-US" dirty="0"/>
              <a:t>[2] J. Kauppinen, "Redesigning the Coil End Insulation of Electrical Motor," Bachelor’s Thesis, </a:t>
            </a:r>
            <a:r>
              <a:rPr lang="en-US" dirty="0" err="1"/>
              <a:t>Vaasan</a:t>
            </a:r>
            <a:r>
              <a:rPr lang="en-US" dirty="0"/>
              <a:t> </a:t>
            </a:r>
            <a:r>
              <a:rPr lang="en-US" dirty="0" err="1"/>
              <a:t>ammattikorkeakoulu</a:t>
            </a:r>
            <a:r>
              <a:rPr lang="en-US" dirty="0"/>
              <a:t> </a:t>
            </a:r>
            <a:br>
              <a:rPr lang="en-US" dirty="0"/>
            </a:br>
            <a:r>
              <a:rPr lang="en-US" dirty="0"/>
              <a:t>University of Applied Sciences, Department of Mechanical and Production Engineering, Vaasa, Finland, 2014.</a:t>
            </a:r>
            <a:endParaRPr lang="de-DE" dirty="0"/>
          </a:p>
          <a:p>
            <a:pPr>
              <a:buClr>
                <a:srgbClr val="97C139"/>
              </a:buClr>
            </a:pPr>
            <a:r>
              <a:rPr lang="de-DE" dirty="0"/>
              <a:t>3}</a:t>
            </a:r>
            <a:r>
              <a:rPr lang="en-IN" dirty="0"/>
              <a:t> Nguyen, M. , Dario, S. , Malec, D. , Mary, D. , Cambronne, J. , </a:t>
            </a:r>
            <a:r>
              <a:rPr lang="en-IN" dirty="0" err="1"/>
              <a:t>Prunel</a:t>
            </a:r>
            <a:r>
              <a:rPr lang="en-IN" dirty="0"/>
              <a:t>, D. and </a:t>
            </a:r>
            <a:r>
              <a:rPr lang="en-IN" dirty="0" err="1"/>
              <a:t>Orgelet</a:t>
            </a:r>
            <a:r>
              <a:rPr lang="en-IN" dirty="0"/>
              <a:t>, J. (2017) </a:t>
            </a:r>
            <a:br>
              <a:rPr lang="en-IN" dirty="0"/>
            </a:br>
            <a:r>
              <a:rPr lang="en-IN" dirty="0"/>
              <a:t>Environmental Assessment </a:t>
            </a:r>
            <a:r>
              <a:rPr lang="en-US" dirty="0"/>
              <a:t>and Dielectric Performances of the Secondary Electrical Insulation in Low Voltage </a:t>
            </a:r>
            <a:br>
              <a:rPr lang="en-US" dirty="0"/>
            </a:br>
            <a:r>
              <a:rPr lang="en-US" dirty="0"/>
              <a:t>Motors Impregnated by Different Techniques. </a:t>
            </a:r>
            <a:r>
              <a:rPr lang="en-US" i="1" dirty="0"/>
              <a:t>Engineering</a:t>
            </a:r>
            <a:r>
              <a:rPr lang="en-US" dirty="0"/>
              <a:t>, </a:t>
            </a:r>
            <a:r>
              <a:rPr lang="en-US" b="1" dirty="0"/>
              <a:t>9</a:t>
            </a:r>
            <a:r>
              <a:rPr lang="en-US" dirty="0"/>
              <a:t>, 860-873. </a:t>
            </a:r>
            <a:r>
              <a:rPr lang="en-US" dirty="0" err="1"/>
              <a:t>doi</a:t>
            </a:r>
            <a:r>
              <a:rPr lang="en-US" dirty="0"/>
              <a:t>:</a:t>
            </a:r>
            <a:r>
              <a:rPr lang="en-IN" dirty="0">
                <a:hlinkClick r:id="rId3"/>
              </a:rPr>
              <a:t>10.4236/eng.2017.910051 </a:t>
            </a:r>
            <a:endParaRPr lang="en-IN" dirty="0"/>
          </a:p>
          <a:p>
            <a:pPr>
              <a:buClr>
                <a:srgbClr val="97C139"/>
              </a:buClr>
            </a:pPr>
            <a:r>
              <a:rPr lang="en-IN" dirty="0"/>
              <a:t>[4]</a:t>
            </a:r>
            <a:r>
              <a:rPr lang="de-DE" dirty="0"/>
              <a:t> GMW Taiwan, </a:t>
            </a:r>
            <a:r>
              <a:rPr lang="de-DE" i="1" dirty="0"/>
              <a:t>GMW CS-2B Stator Slot Cell Inserter.</a:t>
            </a:r>
            <a:br>
              <a:rPr lang="de-DE" i="1" dirty="0"/>
            </a:br>
            <a:r>
              <a:rPr lang="de-DE" i="1" dirty="0"/>
              <a:t> </a:t>
            </a:r>
            <a:r>
              <a:rPr lang="de-DE" dirty="0"/>
              <a:t>[Online]. Available: https://​www.gmwtaiwan.com​/​Slot-​Cell-​Insertion-​Machine/​GMW-​CS-​2B-​Stator-​Slot-​Cell-​Inserter</a:t>
            </a:r>
          </a:p>
          <a:p>
            <a:pPr>
              <a:buClr>
                <a:srgbClr val="97C139"/>
              </a:buClr>
            </a:pPr>
            <a:r>
              <a:rPr lang="de-DE" dirty="0"/>
              <a:t>[5] Universal Robots, </a:t>
            </a:r>
            <a:r>
              <a:rPr lang="de-DE" i="1" dirty="0"/>
              <a:t>UR10e. </a:t>
            </a:r>
            <a:r>
              <a:rPr lang="de-DE" dirty="0"/>
              <a:t>[Online]. Available: https://​www.universal-robots.com​/​products/​ur10e</a:t>
            </a:r>
          </a:p>
          <a:p>
            <a:pPr>
              <a:buClr>
                <a:srgbClr val="97C139"/>
              </a:buClr>
            </a:pPr>
            <a:r>
              <a:rPr lang="de-DE" dirty="0"/>
              <a:t>[6] OnRobot, </a:t>
            </a:r>
            <a:r>
              <a:rPr lang="de-DE" i="1" dirty="0"/>
              <a:t>RG2 Gripper - Flexible 2 Finger Robot Gripper | OnRobot. </a:t>
            </a:r>
            <a:r>
              <a:rPr lang="de-DE" dirty="0"/>
              <a:t>[Online]. Available: https://​onrobot.com​/​us/​products/​rg2-​gripper</a:t>
            </a:r>
            <a:br>
              <a:rPr lang="de-DE" dirty="0"/>
            </a:br>
            <a:r>
              <a:rPr lang="de-DE" dirty="0"/>
              <a:t>OnRobot, </a:t>
            </a:r>
            <a:r>
              <a:rPr lang="de-DE" i="1" dirty="0"/>
              <a:t>Hex 6-Axis Force Torque Sensor | OnRobot. </a:t>
            </a:r>
            <a:r>
              <a:rPr lang="de-DE" dirty="0"/>
              <a:t>[Online]. </a:t>
            </a:r>
            <a:br>
              <a:rPr lang="de-DE" dirty="0"/>
            </a:br>
            <a:r>
              <a:rPr lang="de-DE" dirty="0"/>
              <a:t>Available: https://​onrobot.com​/​en/​products/​hex-​6-​axis-​force-​torque-​sensor (accessed: Aug. 20 2025).</a:t>
            </a:r>
            <a:endParaRPr lang="en-IN" dirty="0"/>
          </a:p>
          <a:p>
            <a:pPr>
              <a:buClr>
                <a:srgbClr val="97C139"/>
              </a:buClr>
            </a:pPr>
            <a:endParaRPr lang="en-US" dirty="0"/>
          </a:p>
          <a:p>
            <a:pPr>
              <a:buClr>
                <a:srgbClr val="97C139"/>
              </a:buClr>
            </a:pPr>
            <a:endParaRPr lang="en-US" dirty="0"/>
          </a:p>
          <a:p>
            <a:pPr>
              <a:buClr>
                <a:srgbClr val="97C139"/>
              </a:buClr>
            </a:pPr>
            <a:endParaRPr lang="en-IN" dirty="0" err="1"/>
          </a:p>
        </p:txBody>
      </p:sp>
    </p:spTree>
    <p:extLst>
      <p:ext uri="{BB962C8B-B14F-4D97-AF65-F5344CB8AC3E}">
        <p14:creationId xmlns:p14="http://schemas.microsoft.com/office/powerpoint/2010/main" val="235879133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14AFF1CF-4154-3F9C-66DF-AFB67BB1ED2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944213" y="4292600"/>
            <a:ext cx="7128451" cy="780983"/>
          </a:xfrm>
        </p:spPr>
        <p:txBody>
          <a:bodyPr/>
          <a:lstStyle/>
          <a:p>
            <a:r>
              <a:rPr lang="de-DE" sz="2000" dirty="0"/>
              <a:t>Development of a Parametric Tool for Automated </a:t>
            </a:r>
            <a:br>
              <a:rPr lang="en-IN" sz="2000" dirty="0"/>
            </a:br>
            <a:r>
              <a:rPr lang="de-DE" sz="2000" dirty="0"/>
              <a:t>Slot Insulation Insertion in Small-Scale Electric-</a:t>
            </a:r>
            <a:br>
              <a:rPr lang="en-IN" sz="2000" dirty="0"/>
            </a:br>
            <a:r>
              <a:rPr lang="de-DE" sz="2000" dirty="0"/>
              <a:t>Motor Stator Production</a:t>
            </a:r>
            <a:br>
              <a:rPr lang="en-IN" dirty="0"/>
            </a:br>
            <a:endParaRPr lang="de-DE" dirty="0"/>
          </a:p>
        </p:txBody>
      </p:sp>
      <p:sp>
        <p:nvSpPr>
          <p:cNvPr id="6" name="Untertitel 5">
            <a:extLst>
              <a:ext uri="{FF2B5EF4-FFF2-40B4-BE49-F238E27FC236}">
                <a16:creationId xmlns:a16="http://schemas.microsoft.com/office/drawing/2014/main" id="{FC6F32F7-AB9D-997A-EF60-A4D95D54982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943474" y="5589240"/>
            <a:ext cx="6408738" cy="830997"/>
          </a:xfrm>
        </p:spPr>
        <p:txBody>
          <a:bodyPr/>
          <a:lstStyle/>
          <a:p>
            <a:r>
              <a:rPr lang="de-DE" dirty="0"/>
              <a:t>Alen Sebastian 23221507 (M Sc Electromobility)</a:t>
            </a:r>
          </a:p>
          <a:p>
            <a:r>
              <a:rPr lang="de-DE" dirty="0"/>
              <a:t>Project Thesis Presentation</a:t>
            </a:r>
          </a:p>
        </p:txBody>
      </p:sp>
      <p:pic>
        <p:nvPicPr>
          <p:cNvPr id="2" name="Bildplatzhalter 4">
            <a:extLst>
              <a:ext uri="{FF2B5EF4-FFF2-40B4-BE49-F238E27FC236}">
                <a16:creationId xmlns:a16="http://schemas.microsoft.com/office/drawing/2014/main" id="{E84E3E70-3318-BCC2-E4E9-88A3C3BE5C70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506" b="12506"/>
          <a:stretch/>
        </p:blipFill>
        <p:spPr>
          <a:xfrm>
            <a:off x="0" y="0"/>
            <a:ext cx="12192000" cy="4076700"/>
          </a:xfrm>
        </p:spPr>
      </p:pic>
    </p:spTree>
    <p:extLst>
      <p:ext uri="{BB962C8B-B14F-4D97-AF65-F5344CB8AC3E}">
        <p14:creationId xmlns:p14="http://schemas.microsoft.com/office/powerpoint/2010/main" val="338262739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platzhalter 4">
            <a:extLst>
              <a:ext uri="{FF2B5EF4-FFF2-40B4-BE49-F238E27FC236}">
                <a16:creationId xmlns:a16="http://schemas.microsoft.com/office/drawing/2014/main" id="{56BAA965-7E81-4A4D-87C3-63687EF96BB3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506" b="12506"/>
          <a:stretch/>
        </p:blipFill>
        <p:spPr/>
      </p:pic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1901D12A-1847-C90D-4DEA-953A1B3EACB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n-US" dirty="0">
                <a:solidFill>
                  <a:srgbClr val="000000"/>
                </a:solidFill>
              </a:rPr>
              <a:t>12.11.2025</a:t>
            </a:r>
          </a:p>
          <a:p>
            <a:pPr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BF0D112F-D621-3214-DF21-01467776E6D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FE11F066-C7D3-4B2D-BC7E-EC0D86AF6BBF}" type="slidenum">
              <a:rPr lang="de-DE" smtClean="0">
                <a:solidFill>
                  <a:srgbClr val="000000"/>
                </a:solidFill>
              </a:rPr>
              <a:pPr>
                <a:defRPr/>
              </a:pPr>
              <a:t>20</a:t>
            </a:fld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12C798EC-4EF0-9D27-25CA-F6EEB8649A7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defRPr/>
            </a:pPr>
            <a:r>
              <a:rPr lang="de-DE" dirty="0">
                <a:solidFill>
                  <a:srgbClr val="000000"/>
                </a:solidFill>
              </a:rPr>
              <a:t>Alen Sebastian – Development of a Parametric tool for Automated Slot Insulation Insertion in Small scale Electric Stator Production</a:t>
            </a:r>
          </a:p>
          <a:p>
            <a:pPr>
              <a:defRPr/>
            </a:pPr>
            <a:endParaRPr lang="de-DE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25739093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35B331E1-350B-D7A6-37F1-98E8188993C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n-US" dirty="0">
                <a:solidFill>
                  <a:srgbClr val="000000"/>
                </a:solidFill>
              </a:rPr>
              <a:t>12.11.2025</a:t>
            </a:r>
          </a:p>
          <a:p>
            <a:pPr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C70B23B-39A7-0222-C925-215E249FDF3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FE11F066-C7D3-4B2D-BC7E-EC0D86AF6BBF}" type="slidenum">
              <a:rPr lang="de-DE" smtClean="0">
                <a:solidFill>
                  <a:srgbClr val="000000"/>
                </a:solidFill>
              </a:rPr>
              <a:pPr>
                <a:defRPr/>
              </a:pPr>
              <a:t>21</a:t>
            </a:fld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E3F3FA52-04E9-E7CB-3F3E-0DC28FBC29B1}"/>
              </a:ext>
            </a:extLst>
          </p:cNvPr>
          <p:cNvSpPr txBox="1"/>
          <p:nvPr/>
        </p:nvSpPr>
        <p:spPr>
          <a:xfrm>
            <a:off x="4439816" y="2924944"/>
            <a:ext cx="3312368" cy="136815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buClr>
                <a:srgbClr val="97C139"/>
              </a:buClr>
            </a:pPr>
            <a:r>
              <a:rPr lang="en-US" sz="4400" b="1" dirty="0"/>
              <a:t>Questions?</a:t>
            </a:r>
            <a:endParaRPr lang="en-IN" sz="4400" b="1" dirty="0" err="1"/>
          </a:p>
        </p:txBody>
      </p:sp>
      <p:sp>
        <p:nvSpPr>
          <p:cNvPr id="4" name="Fußzeilenplatzhalter 6">
            <a:extLst>
              <a:ext uri="{FF2B5EF4-FFF2-40B4-BE49-F238E27FC236}">
                <a16:creationId xmlns:a16="http://schemas.microsoft.com/office/drawing/2014/main" id="{2FAC98D8-739E-FCFE-8A26-308ABDFA1D5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25500" y="6564313"/>
            <a:ext cx="8902700" cy="125412"/>
          </a:xfrm>
        </p:spPr>
        <p:txBody>
          <a:bodyPr/>
          <a:lstStyle/>
          <a:p>
            <a:pPr>
              <a:defRPr/>
            </a:pPr>
            <a:r>
              <a:rPr lang="de-DE" dirty="0">
                <a:solidFill>
                  <a:srgbClr val="000000"/>
                </a:solidFill>
              </a:rPr>
              <a:t>Alen Sebastian – Development of a Parametric tool for Automated Slot Insulation Insertion in Small scale Electric Stator Production</a:t>
            </a:r>
          </a:p>
          <a:p>
            <a:pPr>
              <a:defRPr/>
            </a:pPr>
            <a:endParaRPr lang="de-DE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4238165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626C7770-080B-1695-82D3-0757EAC82EE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n-US" dirty="0">
                <a:solidFill>
                  <a:srgbClr val="000000"/>
                </a:solidFill>
              </a:rPr>
              <a:t>12.11.2025</a:t>
            </a:r>
          </a:p>
          <a:p>
            <a:pPr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1661480-31C5-F83D-991E-3490AB9B3F7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FE11F066-C7D3-4B2D-BC7E-EC0D86AF6BBF}" type="slidenum">
              <a:rPr lang="de-DE" smtClean="0">
                <a:solidFill>
                  <a:srgbClr val="000000"/>
                </a:solidFill>
              </a:rPr>
              <a:pPr>
                <a:defRPr/>
              </a:pPr>
              <a:t>3</a:t>
            </a:fld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96247087-763E-63F2-9432-EEAA6EC57AF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18654" y="326976"/>
            <a:ext cx="10893969" cy="503238"/>
          </a:xfrm>
        </p:spPr>
        <p:txBody>
          <a:bodyPr/>
          <a:lstStyle/>
          <a:p>
            <a:r>
              <a:rPr lang="en-US" dirty="0"/>
              <a:t>Climate change and CO₂ emissions drive the need for sustainable mobility, leading to a rapid </a:t>
            </a:r>
            <a:br>
              <a:rPr lang="en-US" dirty="0"/>
            </a:br>
            <a:r>
              <a:rPr lang="en-US" dirty="0"/>
              <a:t>rise in electric vehicle demand.</a:t>
            </a:r>
            <a:endParaRPr lang="en-IN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B3A7ADA-7FEE-FEF5-62D7-84F8ED64E68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defRPr/>
            </a:pPr>
            <a:r>
              <a:rPr lang="de-DE" dirty="0">
                <a:solidFill>
                  <a:srgbClr val="000000"/>
                </a:solidFill>
              </a:rPr>
              <a:t>Alen Sebastian – Development of a Parametric tool for Automated Slot Insulation Insertion in Small scale Electric Stator Production</a:t>
            </a:r>
          </a:p>
          <a:p>
            <a:pPr>
              <a:defRPr/>
            </a:pP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CE25FD0C-057B-F2AD-1838-074D8FA1FF30}"/>
              </a:ext>
            </a:extLst>
          </p:cNvPr>
          <p:cNvSpPr txBox="1"/>
          <p:nvPr/>
        </p:nvSpPr>
        <p:spPr>
          <a:xfrm>
            <a:off x="1070145" y="744385"/>
            <a:ext cx="6408712" cy="468052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buClr>
                <a:srgbClr val="97C139"/>
              </a:buClr>
            </a:pPr>
            <a:endParaRPr lang="en-US" sz="1600" b="1" dirty="0"/>
          </a:p>
          <a:p>
            <a:pPr marL="285750" indent="-285750">
              <a:buClr>
                <a:srgbClr val="97C139"/>
              </a:buClr>
              <a:buFont typeface="Wingdings" panose="05000000000000000000" pitchFamily="2" charset="2"/>
              <a:buChar char="§"/>
            </a:pPr>
            <a:r>
              <a:rPr lang="en-IN" sz="1600" dirty="0"/>
              <a:t>Climate change &amp; CO₂ emissions </a:t>
            </a:r>
            <a:r>
              <a:rPr lang="en-IN" sz="1600" dirty="0">
                <a:sym typeface="Wingdings" panose="05000000000000000000" pitchFamily="2" charset="2"/>
              </a:rPr>
              <a:t></a:t>
            </a:r>
            <a:r>
              <a:rPr lang="en-IN" sz="1600" dirty="0"/>
              <a:t> need for sustainable technologies</a:t>
            </a:r>
          </a:p>
          <a:p>
            <a:pPr marL="285750" indent="-285750">
              <a:buClr>
                <a:srgbClr val="97C139"/>
              </a:buClr>
              <a:buFont typeface="Wingdings" panose="05000000000000000000" pitchFamily="2" charset="2"/>
              <a:buChar char="§"/>
            </a:pPr>
            <a:r>
              <a:rPr lang="en-IN" sz="1600" dirty="0"/>
              <a:t>Transport sector accounts for about 23% of  global CO2 emissions</a:t>
            </a:r>
          </a:p>
          <a:p>
            <a:pPr marL="285750" indent="-285750">
              <a:buClr>
                <a:srgbClr val="97C139"/>
              </a:buClr>
              <a:buFont typeface="Wingdings" panose="05000000000000000000" pitchFamily="2" charset="2"/>
              <a:buChar char="§"/>
            </a:pPr>
            <a:r>
              <a:rPr lang="en-US" sz="1600" dirty="0"/>
              <a:t>Electrification trend </a:t>
            </a:r>
            <a:r>
              <a:rPr lang="en-US" sz="1600" dirty="0">
                <a:sym typeface="Wingdings" panose="05000000000000000000" pitchFamily="2" charset="2"/>
              </a:rPr>
              <a:t></a:t>
            </a:r>
            <a:r>
              <a:rPr lang="en-US" sz="1600" dirty="0"/>
              <a:t> rapid growth of EVs </a:t>
            </a:r>
            <a:r>
              <a:rPr lang="en-US" sz="1600" dirty="0">
                <a:sym typeface="Wingdings" panose="05000000000000000000" pitchFamily="2" charset="2"/>
              </a:rPr>
              <a:t></a:t>
            </a:r>
            <a:r>
              <a:rPr lang="en-US" sz="1600" dirty="0"/>
              <a:t>surge in electric motor demand</a:t>
            </a:r>
          </a:p>
          <a:p>
            <a:pPr marL="285750" indent="-285750">
              <a:buClr>
                <a:srgbClr val="97C139"/>
              </a:buClr>
              <a:buFont typeface="Wingdings" panose="05000000000000000000" pitchFamily="2" charset="2"/>
              <a:buChar char="§"/>
            </a:pPr>
            <a:r>
              <a:rPr lang="en-IN" sz="1600" dirty="0"/>
              <a:t>Large-scale production: highly automated</a:t>
            </a:r>
          </a:p>
          <a:p>
            <a:pPr marL="285750" indent="-285750">
              <a:buClr>
                <a:srgbClr val="97C139"/>
              </a:buClr>
              <a:buFont typeface="Wingdings" panose="05000000000000000000" pitchFamily="2" charset="2"/>
              <a:buChar char="§"/>
            </a:pPr>
            <a:r>
              <a:rPr lang="en-US" sz="1600" dirty="0"/>
              <a:t>Small-scale/custom production: still manual, especially slot liner insertion</a:t>
            </a:r>
          </a:p>
          <a:p>
            <a:pPr marL="285750" indent="-285750">
              <a:buClr>
                <a:srgbClr val="97C139"/>
              </a:buClr>
              <a:buFont typeface="Wingdings" panose="05000000000000000000" pitchFamily="2" charset="2"/>
              <a:buChar char="§"/>
            </a:pPr>
            <a:r>
              <a:rPr lang="en-US" sz="1600" dirty="0"/>
              <a:t>Manual process = time-consuming, inconsistent, costly</a:t>
            </a:r>
          </a:p>
          <a:p>
            <a:pPr marL="285750" indent="-285750">
              <a:buClr>
                <a:srgbClr val="97C139"/>
              </a:buClr>
              <a:buFont typeface="Wingdings" panose="05000000000000000000" pitchFamily="2" charset="2"/>
              <a:buChar char="§"/>
            </a:pPr>
            <a:endParaRPr lang="en-US" dirty="0"/>
          </a:p>
          <a:p>
            <a:pPr>
              <a:buClr>
                <a:srgbClr val="97C139"/>
              </a:buClr>
            </a:pPr>
            <a:endParaRPr lang="en-IN" dirty="0" err="1"/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0A3C4E4A-89D9-AE3C-D664-190C6BB7B6BD}"/>
              </a:ext>
            </a:extLst>
          </p:cNvPr>
          <p:cNvGrpSpPr/>
          <p:nvPr/>
        </p:nvGrpSpPr>
        <p:grpSpPr>
          <a:xfrm>
            <a:off x="2175337" y="3212976"/>
            <a:ext cx="7632102" cy="3188042"/>
            <a:chOff x="1652240" y="3284984"/>
            <a:chExt cx="7278116" cy="2936014"/>
          </a:xfrm>
        </p:grpSpPr>
        <p:pic>
          <p:nvPicPr>
            <p:cNvPr id="10" name="Picture 9" descr="A graph with different colored bars&#10;&#10;AI-generated content may be incorrect.">
              <a:extLst>
                <a:ext uri="{FF2B5EF4-FFF2-40B4-BE49-F238E27FC236}">
                  <a16:creationId xmlns:a16="http://schemas.microsoft.com/office/drawing/2014/main" id="{BABD4FC9-6792-3316-A332-0DB5BEFA609F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1652240" y="3284984"/>
              <a:ext cx="7278116" cy="2592288"/>
            </a:xfrm>
            <a:prstGeom prst="rect">
              <a:avLst/>
            </a:prstGeom>
          </p:spPr>
        </p:pic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DEF0EC1D-6F07-B796-F2D1-56BA9DEBC595}"/>
                </a:ext>
              </a:extLst>
            </p:cNvPr>
            <p:cNvSpPr txBox="1"/>
            <p:nvPr/>
          </p:nvSpPr>
          <p:spPr>
            <a:xfrm>
              <a:off x="4033812" y="5912696"/>
              <a:ext cx="4896544" cy="308302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pPr>
                <a:buClr>
                  <a:srgbClr val="97C139"/>
                </a:buClr>
              </a:pPr>
              <a:r>
                <a:rPr lang="en-US" dirty="0"/>
                <a:t>Fig 1. Global EV sales [1]</a:t>
              </a:r>
              <a:endParaRPr lang="en-IN" dirty="0" err="1"/>
            </a:p>
          </p:txBody>
        </p:sp>
      </p:grpSp>
    </p:spTree>
    <p:extLst>
      <p:ext uri="{BB962C8B-B14F-4D97-AF65-F5344CB8AC3E}">
        <p14:creationId xmlns:p14="http://schemas.microsoft.com/office/powerpoint/2010/main" val="235069240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A2ECBB6B-F1E4-5215-A92B-26B0B3B61BD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n-US" dirty="0">
                <a:solidFill>
                  <a:srgbClr val="000000"/>
                </a:solidFill>
              </a:rPr>
              <a:t>12.11.2025</a:t>
            </a:r>
          </a:p>
          <a:p>
            <a:pPr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AA4BEC2C-3FC8-EEA3-16CA-AF7E26B237E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FE11F066-C7D3-4B2D-BC7E-EC0D86AF6BBF}" type="slidenum">
              <a:rPr lang="de-DE" smtClean="0">
                <a:solidFill>
                  <a:srgbClr val="000000"/>
                </a:solidFill>
              </a:rPr>
              <a:pPr>
                <a:defRPr/>
              </a:pPr>
              <a:t>4</a:t>
            </a:fld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1808C310-DE11-6BD4-BF98-03E4BE1302E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bjective: To Develop a flexible insertion tool to automate slot-liner insertion in small-scale stator manufacturing</a:t>
            </a:r>
            <a:endParaRPr lang="en-IN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9D3D805-7218-3613-78DD-CBDACB28285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defRPr/>
            </a:pPr>
            <a:r>
              <a:rPr lang="de-DE" dirty="0">
                <a:solidFill>
                  <a:srgbClr val="000000"/>
                </a:solidFill>
              </a:rPr>
              <a:t>Alen Sebastian – Development of a Parametric tool for Automated Slot Insulation Insertion in Small scale Electric Stator Production</a:t>
            </a:r>
          </a:p>
          <a:p>
            <a:pPr>
              <a:defRPr/>
            </a:pPr>
            <a:endParaRPr lang="de-DE" dirty="0">
              <a:solidFill>
                <a:srgbClr val="000000"/>
              </a:solidFill>
            </a:endParaRP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F99AD4E1-52B3-9D8D-94D4-7DB7BA774245}"/>
              </a:ext>
            </a:extLst>
          </p:cNvPr>
          <p:cNvGrpSpPr/>
          <p:nvPr/>
        </p:nvGrpSpPr>
        <p:grpSpPr>
          <a:xfrm>
            <a:off x="3118353" y="915240"/>
            <a:ext cx="5955294" cy="5554567"/>
            <a:chOff x="2978285" y="766980"/>
            <a:chExt cx="5955294" cy="5554567"/>
          </a:xfrm>
          <a:solidFill>
            <a:srgbClr val="C5DE89"/>
          </a:solidFill>
        </p:grpSpPr>
        <p:sp>
          <p:nvSpPr>
            <p:cNvPr id="7" name="Freeform: Shape 6">
              <a:extLst>
                <a:ext uri="{FF2B5EF4-FFF2-40B4-BE49-F238E27FC236}">
                  <a16:creationId xmlns:a16="http://schemas.microsoft.com/office/drawing/2014/main" id="{ED95335A-61AE-A6E6-8C94-30474817F79E}"/>
                </a:ext>
              </a:extLst>
            </p:cNvPr>
            <p:cNvSpPr/>
            <p:nvPr/>
          </p:nvSpPr>
          <p:spPr>
            <a:xfrm>
              <a:off x="4506332" y="2059208"/>
              <a:ext cx="2970111" cy="2970111"/>
            </a:xfrm>
            <a:custGeom>
              <a:avLst/>
              <a:gdLst>
                <a:gd name="connsiteX0" fmla="*/ 0 w 2970111"/>
                <a:gd name="connsiteY0" fmla="*/ 1485056 h 2970111"/>
                <a:gd name="connsiteX1" fmla="*/ 1485056 w 2970111"/>
                <a:gd name="connsiteY1" fmla="*/ 0 h 2970111"/>
                <a:gd name="connsiteX2" fmla="*/ 2970112 w 2970111"/>
                <a:gd name="connsiteY2" fmla="*/ 1485056 h 2970111"/>
                <a:gd name="connsiteX3" fmla="*/ 1485056 w 2970111"/>
                <a:gd name="connsiteY3" fmla="*/ 2970112 h 2970111"/>
                <a:gd name="connsiteX4" fmla="*/ 0 w 2970111"/>
                <a:gd name="connsiteY4" fmla="*/ 1485056 h 29701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970111" h="2970111">
                  <a:moveTo>
                    <a:pt x="0" y="1485056"/>
                  </a:moveTo>
                  <a:cubicBezTo>
                    <a:pt x="0" y="664882"/>
                    <a:pt x="664882" y="0"/>
                    <a:pt x="1485056" y="0"/>
                  </a:cubicBezTo>
                  <a:cubicBezTo>
                    <a:pt x="2305230" y="0"/>
                    <a:pt x="2970112" y="664882"/>
                    <a:pt x="2970112" y="1485056"/>
                  </a:cubicBezTo>
                  <a:cubicBezTo>
                    <a:pt x="2970112" y="2305230"/>
                    <a:pt x="2305230" y="2970112"/>
                    <a:pt x="1485056" y="2970112"/>
                  </a:cubicBezTo>
                  <a:cubicBezTo>
                    <a:pt x="664882" y="2970112"/>
                    <a:pt x="0" y="2305230"/>
                    <a:pt x="0" y="1485056"/>
                  </a:cubicBezTo>
                  <a:close/>
                </a:path>
              </a:pathLst>
            </a:custGeom>
            <a:grpFill/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alpha val="5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alpha val="50000"/>
                <a:hueOff val="0"/>
                <a:satOff val="0"/>
                <a:lumOff val="0"/>
                <a:alphaOff val="0"/>
              </a:schemeClr>
            </a:effectRef>
            <a:fontRef idx="minor">
              <a:schemeClr val="tx1"/>
            </a:fontRef>
          </p:style>
          <p:txBody>
            <a:bodyPr spcFirstLastPara="0" vert="horz" wrap="square" lIns="470523" tIns="470523" rIns="470523" bIns="470523" numCol="1" spcCol="1270" anchor="ctr" anchorCtr="0">
              <a:noAutofit/>
            </a:bodyPr>
            <a:lstStyle/>
            <a:p>
              <a:pPr marL="0" lvl="0" indent="0" algn="ctr" defTabSz="12446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2800" b="1" kern="1200" dirty="0"/>
                <a:t>Automated Slot-Liner Insertion</a:t>
              </a:r>
              <a:endParaRPr lang="en-IN" sz="2800" b="1" kern="1200" dirty="0"/>
            </a:p>
          </p:txBody>
        </p:sp>
        <p:sp>
          <p:nvSpPr>
            <p:cNvPr id="9" name="Freeform: Shape 8">
              <a:extLst>
                <a:ext uri="{FF2B5EF4-FFF2-40B4-BE49-F238E27FC236}">
                  <a16:creationId xmlns:a16="http://schemas.microsoft.com/office/drawing/2014/main" id="{246E7C7B-5686-4D93-91E5-FFC43F63EC65}"/>
                </a:ext>
              </a:extLst>
            </p:cNvPr>
            <p:cNvSpPr/>
            <p:nvPr/>
          </p:nvSpPr>
          <p:spPr>
            <a:xfrm>
              <a:off x="7225825" y="2698219"/>
              <a:ext cx="1707754" cy="1681349"/>
            </a:xfrm>
            <a:custGeom>
              <a:avLst/>
              <a:gdLst>
                <a:gd name="connsiteX0" fmla="*/ 0 w 1707754"/>
                <a:gd name="connsiteY0" fmla="*/ 742528 h 1485055"/>
                <a:gd name="connsiteX1" fmla="*/ 853877 w 1707754"/>
                <a:gd name="connsiteY1" fmla="*/ 0 h 1485055"/>
                <a:gd name="connsiteX2" fmla="*/ 1707754 w 1707754"/>
                <a:gd name="connsiteY2" fmla="*/ 742528 h 1485055"/>
                <a:gd name="connsiteX3" fmla="*/ 853877 w 1707754"/>
                <a:gd name="connsiteY3" fmla="*/ 1485056 h 1485055"/>
                <a:gd name="connsiteX4" fmla="*/ 0 w 1707754"/>
                <a:gd name="connsiteY4" fmla="*/ 742528 h 14850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07754" h="1485055">
                  <a:moveTo>
                    <a:pt x="0" y="742528"/>
                  </a:moveTo>
                  <a:cubicBezTo>
                    <a:pt x="0" y="332441"/>
                    <a:pt x="382294" y="0"/>
                    <a:pt x="853877" y="0"/>
                  </a:cubicBezTo>
                  <a:cubicBezTo>
                    <a:pt x="1325460" y="0"/>
                    <a:pt x="1707754" y="332441"/>
                    <a:pt x="1707754" y="742528"/>
                  </a:cubicBezTo>
                  <a:cubicBezTo>
                    <a:pt x="1707754" y="1152615"/>
                    <a:pt x="1325460" y="1485056"/>
                    <a:pt x="853877" y="1485056"/>
                  </a:cubicBezTo>
                  <a:cubicBezTo>
                    <a:pt x="382294" y="1485056"/>
                    <a:pt x="0" y="1152615"/>
                    <a:pt x="0" y="742528"/>
                  </a:cubicBezTo>
                  <a:close/>
                </a:path>
              </a:pathLst>
            </a:custGeom>
            <a:grpFill/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alpha val="5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alpha val="50000"/>
                <a:hueOff val="0"/>
                <a:satOff val="0"/>
                <a:lumOff val="0"/>
                <a:alphaOff val="0"/>
              </a:schemeClr>
            </a:effectRef>
            <a:fontRef idx="minor">
              <a:schemeClr val="tx1"/>
            </a:fontRef>
          </p:style>
          <p:txBody>
            <a:bodyPr spcFirstLastPara="0" vert="horz" wrap="square" lIns="270415" tIns="237801" rIns="270415" bIns="237801" numCol="1" spcCol="1270" anchor="ctr" anchorCtr="0">
              <a:noAutofit/>
            </a:bodyPr>
            <a:lstStyle/>
            <a:p>
              <a:pPr marL="0" lvl="0" indent="0" algn="ctr" defTabSz="7112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1600" kern="1200" dirty="0"/>
                <a:t>Parametric Tool Design</a:t>
              </a:r>
              <a:endParaRPr lang="en-IN" sz="1600" kern="1200" dirty="0"/>
            </a:p>
          </p:txBody>
        </p:sp>
        <p:sp>
          <p:nvSpPr>
            <p:cNvPr id="10" name="Freeform: Shape 9">
              <a:extLst>
                <a:ext uri="{FF2B5EF4-FFF2-40B4-BE49-F238E27FC236}">
                  <a16:creationId xmlns:a16="http://schemas.microsoft.com/office/drawing/2014/main" id="{3E521223-9E5B-77C3-BC63-3F5B1E89C03A}"/>
                </a:ext>
              </a:extLst>
            </p:cNvPr>
            <p:cNvSpPr/>
            <p:nvPr/>
          </p:nvSpPr>
          <p:spPr>
            <a:xfrm>
              <a:off x="5052029" y="766980"/>
              <a:ext cx="1793235" cy="1681350"/>
            </a:xfrm>
            <a:custGeom>
              <a:avLst/>
              <a:gdLst>
                <a:gd name="connsiteX0" fmla="*/ 0 w 1485055"/>
                <a:gd name="connsiteY0" fmla="*/ 840675 h 1681350"/>
                <a:gd name="connsiteX1" fmla="*/ 742528 w 1485055"/>
                <a:gd name="connsiteY1" fmla="*/ 0 h 1681350"/>
                <a:gd name="connsiteX2" fmla="*/ 1485056 w 1485055"/>
                <a:gd name="connsiteY2" fmla="*/ 840675 h 1681350"/>
                <a:gd name="connsiteX3" fmla="*/ 742528 w 1485055"/>
                <a:gd name="connsiteY3" fmla="*/ 1681350 h 1681350"/>
                <a:gd name="connsiteX4" fmla="*/ 0 w 1485055"/>
                <a:gd name="connsiteY4" fmla="*/ 840675 h 16813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85055" h="1681350">
                  <a:moveTo>
                    <a:pt x="0" y="840675"/>
                  </a:moveTo>
                  <a:cubicBezTo>
                    <a:pt x="0" y="376383"/>
                    <a:pt x="332441" y="0"/>
                    <a:pt x="742528" y="0"/>
                  </a:cubicBezTo>
                  <a:cubicBezTo>
                    <a:pt x="1152615" y="0"/>
                    <a:pt x="1485056" y="376383"/>
                    <a:pt x="1485056" y="840675"/>
                  </a:cubicBezTo>
                  <a:cubicBezTo>
                    <a:pt x="1485056" y="1304967"/>
                    <a:pt x="1152615" y="1681350"/>
                    <a:pt x="742528" y="1681350"/>
                  </a:cubicBezTo>
                  <a:cubicBezTo>
                    <a:pt x="332441" y="1681350"/>
                    <a:pt x="0" y="1304967"/>
                    <a:pt x="0" y="840675"/>
                  </a:cubicBezTo>
                  <a:close/>
                </a:path>
              </a:pathLst>
            </a:custGeom>
            <a:grpFill/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alpha val="5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alpha val="50000"/>
                <a:hueOff val="0"/>
                <a:satOff val="0"/>
                <a:lumOff val="0"/>
                <a:alphaOff val="0"/>
              </a:schemeClr>
            </a:effectRef>
            <a:fontRef idx="minor">
              <a:schemeClr val="tx1"/>
            </a:fontRef>
          </p:style>
          <p:txBody>
            <a:bodyPr spcFirstLastPara="0" vert="horz" wrap="square" lIns="237801" tIns="266548" rIns="237801" bIns="266548" numCol="1" spcCol="1270" anchor="ctr" anchorCtr="0">
              <a:noAutofit/>
            </a:bodyPr>
            <a:lstStyle/>
            <a:p>
              <a:pPr marL="0" lvl="0" indent="0" algn="ctr" defTabSz="7112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1600" kern="1200" dirty="0"/>
                <a:t>Flexible manufacturing</a:t>
              </a:r>
              <a:endParaRPr lang="en-IN" sz="1600" kern="1200" dirty="0"/>
            </a:p>
          </p:txBody>
        </p:sp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FAFE7302-707F-FA57-DE22-26D5CE5D77D8}"/>
                </a:ext>
              </a:extLst>
            </p:cNvPr>
            <p:cNvSpPr/>
            <p:nvPr/>
          </p:nvSpPr>
          <p:spPr>
            <a:xfrm>
              <a:off x="5137510" y="4640198"/>
              <a:ext cx="1707754" cy="1681349"/>
            </a:xfrm>
            <a:custGeom>
              <a:avLst/>
              <a:gdLst>
                <a:gd name="connsiteX0" fmla="*/ 0 w 1485055"/>
                <a:gd name="connsiteY0" fmla="*/ 742528 h 1485055"/>
                <a:gd name="connsiteX1" fmla="*/ 742528 w 1485055"/>
                <a:gd name="connsiteY1" fmla="*/ 0 h 1485055"/>
                <a:gd name="connsiteX2" fmla="*/ 1485056 w 1485055"/>
                <a:gd name="connsiteY2" fmla="*/ 742528 h 1485055"/>
                <a:gd name="connsiteX3" fmla="*/ 742528 w 1485055"/>
                <a:gd name="connsiteY3" fmla="*/ 1485056 h 1485055"/>
                <a:gd name="connsiteX4" fmla="*/ 0 w 1485055"/>
                <a:gd name="connsiteY4" fmla="*/ 742528 h 14850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85055" h="1485055">
                  <a:moveTo>
                    <a:pt x="0" y="742528"/>
                  </a:moveTo>
                  <a:cubicBezTo>
                    <a:pt x="0" y="332441"/>
                    <a:pt x="332441" y="0"/>
                    <a:pt x="742528" y="0"/>
                  </a:cubicBezTo>
                  <a:cubicBezTo>
                    <a:pt x="1152615" y="0"/>
                    <a:pt x="1485056" y="332441"/>
                    <a:pt x="1485056" y="742528"/>
                  </a:cubicBezTo>
                  <a:cubicBezTo>
                    <a:pt x="1485056" y="1152615"/>
                    <a:pt x="1152615" y="1485056"/>
                    <a:pt x="742528" y="1485056"/>
                  </a:cubicBezTo>
                  <a:cubicBezTo>
                    <a:pt x="332441" y="1485056"/>
                    <a:pt x="0" y="1152615"/>
                    <a:pt x="0" y="742528"/>
                  </a:cubicBezTo>
                  <a:close/>
                </a:path>
              </a:pathLst>
            </a:custGeom>
            <a:grpFill/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alpha val="5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alpha val="50000"/>
                <a:hueOff val="0"/>
                <a:satOff val="0"/>
                <a:lumOff val="0"/>
                <a:alphaOff val="0"/>
              </a:schemeClr>
            </a:effectRef>
            <a:fontRef idx="minor">
              <a:schemeClr val="tx1"/>
            </a:fontRef>
          </p:style>
          <p:txBody>
            <a:bodyPr spcFirstLastPara="0" vert="horz" wrap="square" lIns="235261" tIns="235261" rIns="235261" bIns="235261" numCol="1" spcCol="1270" anchor="ctr" anchorCtr="0">
              <a:noAutofit/>
            </a:bodyPr>
            <a:lstStyle/>
            <a:p>
              <a:pPr marL="0" lvl="0" indent="0" algn="ctr" defTabSz="622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1400" kern="1200" dirty="0"/>
                <a:t>Robotic Integration and validation</a:t>
              </a:r>
              <a:endParaRPr lang="en-IN" sz="1400" kern="1200" dirty="0"/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E9801F4E-A9A9-AA1F-E65B-5F0DEBE71A36}"/>
                </a:ext>
              </a:extLst>
            </p:cNvPr>
            <p:cNvSpPr/>
            <p:nvPr/>
          </p:nvSpPr>
          <p:spPr>
            <a:xfrm>
              <a:off x="2978285" y="2882503"/>
              <a:ext cx="1793235" cy="1681349"/>
            </a:xfrm>
            <a:custGeom>
              <a:avLst/>
              <a:gdLst>
                <a:gd name="connsiteX0" fmla="*/ 0 w 1485055"/>
                <a:gd name="connsiteY0" fmla="*/ 742528 h 1485055"/>
                <a:gd name="connsiteX1" fmla="*/ 742528 w 1485055"/>
                <a:gd name="connsiteY1" fmla="*/ 0 h 1485055"/>
                <a:gd name="connsiteX2" fmla="*/ 1485056 w 1485055"/>
                <a:gd name="connsiteY2" fmla="*/ 742528 h 1485055"/>
                <a:gd name="connsiteX3" fmla="*/ 742528 w 1485055"/>
                <a:gd name="connsiteY3" fmla="*/ 1485056 h 1485055"/>
                <a:gd name="connsiteX4" fmla="*/ 0 w 1485055"/>
                <a:gd name="connsiteY4" fmla="*/ 742528 h 14850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85055" h="1485055">
                  <a:moveTo>
                    <a:pt x="0" y="742528"/>
                  </a:moveTo>
                  <a:cubicBezTo>
                    <a:pt x="0" y="332441"/>
                    <a:pt x="332441" y="0"/>
                    <a:pt x="742528" y="0"/>
                  </a:cubicBezTo>
                  <a:cubicBezTo>
                    <a:pt x="1152615" y="0"/>
                    <a:pt x="1485056" y="332441"/>
                    <a:pt x="1485056" y="742528"/>
                  </a:cubicBezTo>
                  <a:cubicBezTo>
                    <a:pt x="1485056" y="1152615"/>
                    <a:pt x="1152615" y="1485056"/>
                    <a:pt x="742528" y="1485056"/>
                  </a:cubicBezTo>
                  <a:cubicBezTo>
                    <a:pt x="332441" y="1485056"/>
                    <a:pt x="0" y="1152615"/>
                    <a:pt x="0" y="742528"/>
                  </a:cubicBezTo>
                  <a:close/>
                </a:path>
              </a:pathLst>
            </a:custGeom>
            <a:grpFill/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alpha val="5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alpha val="50000"/>
                <a:hueOff val="0"/>
                <a:satOff val="0"/>
                <a:lumOff val="0"/>
                <a:alphaOff val="0"/>
              </a:schemeClr>
            </a:effectRef>
            <a:fontRef idx="minor">
              <a:schemeClr val="tx1"/>
            </a:fontRef>
          </p:style>
          <p:txBody>
            <a:bodyPr spcFirstLastPara="0" vert="horz" wrap="square" lIns="235261" tIns="235261" rIns="235261" bIns="235261" numCol="1" spcCol="1270" anchor="ctr" anchorCtr="0">
              <a:noAutofit/>
            </a:bodyPr>
            <a:lstStyle/>
            <a:p>
              <a:pPr marL="0" lvl="0" indent="0" algn="ctr" defTabSz="622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1600" kern="1200" dirty="0"/>
                <a:t>Process reliability and repeatability</a:t>
              </a:r>
              <a:endParaRPr lang="en-IN" sz="1600" kern="1200" dirty="0"/>
            </a:p>
          </p:txBody>
        </p:sp>
      </p:grpSp>
    </p:spTree>
    <p:extLst>
      <p:ext uri="{BB962C8B-B14F-4D97-AF65-F5344CB8AC3E}">
        <p14:creationId xmlns:p14="http://schemas.microsoft.com/office/powerpoint/2010/main" val="375596350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B83BBE27-07F2-B2B2-4946-8161A65092E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n-US" dirty="0">
                <a:solidFill>
                  <a:srgbClr val="000000"/>
                </a:solidFill>
              </a:rPr>
              <a:t>12.11.2025</a:t>
            </a:r>
          </a:p>
          <a:p>
            <a:pPr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F210EDE-46E6-2043-8A59-A08060FD7E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FE11F066-C7D3-4B2D-BC7E-EC0D86AF6BBF}" type="slidenum">
              <a:rPr lang="de-DE" smtClean="0">
                <a:solidFill>
                  <a:srgbClr val="000000"/>
                </a:solidFill>
              </a:rPr>
              <a:pPr>
                <a:defRPr/>
              </a:pPr>
              <a:t>5</a:t>
            </a:fld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CD24A43-3E90-629B-149B-2673FDE7E8F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roducing a stator requires a sequence of precise manufacturing steps, ensuring structural integrity, insulation, and electrical reliability.</a:t>
            </a:r>
            <a:endParaRPr lang="en-IN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43F9620-FDD5-2D5F-6E4C-AFE8699621F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defRPr/>
            </a:pPr>
            <a:r>
              <a:rPr lang="de-DE" dirty="0">
                <a:solidFill>
                  <a:srgbClr val="000000"/>
                </a:solidFill>
              </a:rPr>
              <a:t>Alen Sebastian – Development of a Parametric tool for Automated Slot Insulation Insertion in Small scale Electric Stator Production</a:t>
            </a:r>
          </a:p>
          <a:p>
            <a:pPr>
              <a:defRPr/>
            </a:pP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B2330A73-D609-D961-DDAA-751131E0EB5C}"/>
              </a:ext>
            </a:extLst>
          </p:cNvPr>
          <p:cNvSpPr txBox="1"/>
          <p:nvPr/>
        </p:nvSpPr>
        <p:spPr>
          <a:xfrm>
            <a:off x="839788" y="1124744"/>
            <a:ext cx="9361040" cy="201622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buClr>
                <a:srgbClr val="97C139"/>
              </a:buClr>
            </a:pPr>
            <a:r>
              <a:rPr lang="en-US" sz="1600" dirty="0"/>
              <a:t>Key steps in stator manufacture involve:</a:t>
            </a:r>
          </a:p>
          <a:p>
            <a:pPr marL="285750" indent="-285750">
              <a:buClr>
                <a:srgbClr val="97C139"/>
              </a:buClr>
              <a:buFont typeface="Arial" panose="020B0604020202020204" pitchFamily="34" charset="0"/>
              <a:buChar char="•"/>
            </a:pPr>
            <a:r>
              <a:rPr lang="en-US" sz="1600" b="1" dirty="0"/>
              <a:t>Core Preparation</a:t>
            </a:r>
            <a:r>
              <a:rPr lang="en-US" sz="1600" dirty="0"/>
              <a:t> – Laminated electrical steel sheets are cut, stacked, and bonded to form the stator core.</a:t>
            </a:r>
          </a:p>
          <a:p>
            <a:pPr marL="285750" indent="-285750">
              <a:buClr>
                <a:srgbClr val="97C139"/>
              </a:buClr>
              <a:buFont typeface="Arial" panose="020B0604020202020204" pitchFamily="34" charset="0"/>
              <a:buChar char="•"/>
            </a:pPr>
            <a:r>
              <a:rPr lang="en-US" sz="1600" b="1" dirty="0"/>
              <a:t>Insulation Insertion</a:t>
            </a:r>
            <a:r>
              <a:rPr lang="en-US" sz="1600" dirty="0"/>
              <a:t> – Slot liners and other insulation elements are placed to isolate windings from the core.</a:t>
            </a:r>
          </a:p>
          <a:p>
            <a:pPr marL="285750" indent="-285750">
              <a:buClr>
                <a:srgbClr val="97C139"/>
              </a:buClr>
              <a:buFont typeface="Arial" panose="020B0604020202020204" pitchFamily="34" charset="0"/>
              <a:buChar char="•"/>
            </a:pPr>
            <a:r>
              <a:rPr lang="en-US" sz="1600" b="1" dirty="0"/>
              <a:t>Winding &amp; Interconnection</a:t>
            </a:r>
            <a:r>
              <a:rPr lang="en-US" sz="1600" dirty="0"/>
              <a:t> – Copper wires are wound into slots and interconnected (crimping, soldering, welding).</a:t>
            </a:r>
          </a:p>
          <a:p>
            <a:pPr marL="285750" indent="-285750">
              <a:buClr>
                <a:srgbClr val="97C139"/>
              </a:buClr>
              <a:buFont typeface="Arial" panose="020B0604020202020204" pitchFamily="34" charset="0"/>
              <a:buChar char="•"/>
            </a:pPr>
            <a:r>
              <a:rPr lang="en-US" sz="1600" b="1" dirty="0"/>
              <a:t>Stabilization &amp; Testing</a:t>
            </a:r>
            <a:r>
              <a:rPr lang="en-US" sz="1600" dirty="0"/>
              <a:t> – Resin impregnation improves insulation and thermal performance, followed by electrical tests for quality assurance.</a:t>
            </a:r>
            <a:endParaRPr lang="en-IN" sz="1600" dirty="0" err="1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A063F938-FFD1-842D-3A8E-E650246C7A80}"/>
              </a:ext>
            </a:extLst>
          </p:cNvPr>
          <p:cNvSpPr txBox="1"/>
          <p:nvPr/>
        </p:nvSpPr>
        <p:spPr>
          <a:xfrm>
            <a:off x="4979875" y="6048065"/>
            <a:ext cx="2469365" cy="334767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buClr>
                <a:srgbClr val="97C139"/>
              </a:buClr>
            </a:pPr>
            <a:r>
              <a:rPr lang="en-US" dirty="0"/>
              <a:t>Fig 2. Fully assembled stator [2]</a:t>
            </a:r>
            <a:endParaRPr lang="en-IN" dirty="0" err="1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A48C42FF-1495-83E7-732A-AB321F8FA66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583832" y="3833983"/>
            <a:ext cx="3261453" cy="21279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5149363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1F6BDCAA-F07A-3890-3D61-3346A7FB3E6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n-US" dirty="0">
                <a:solidFill>
                  <a:srgbClr val="000000"/>
                </a:solidFill>
              </a:rPr>
              <a:t>12.11.2025</a:t>
            </a:r>
          </a:p>
          <a:p>
            <a:pPr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77254A8-2A03-50F7-3E9C-5F0EF8485D4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FE11F066-C7D3-4B2D-BC7E-EC0D86AF6BBF}" type="slidenum">
              <a:rPr lang="de-DE" smtClean="0">
                <a:solidFill>
                  <a:srgbClr val="000000"/>
                </a:solidFill>
              </a:rPr>
              <a:pPr>
                <a:defRPr/>
              </a:pPr>
              <a:t>6</a:t>
            </a:fld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11539ED2-AB11-7BD6-FF4A-E089160D46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 stator production, slot liners are essential components that ensure proper insulation of the windings and protect against mechanical wear during operation.</a:t>
            </a:r>
            <a:endParaRPr lang="en-IN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DC95A40-F8B3-D4D3-C92F-0E3BB9ACCF7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39787" y="6564724"/>
            <a:ext cx="8903021" cy="124906"/>
          </a:xfrm>
        </p:spPr>
        <p:txBody>
          <a:bodyPr/>
          <a:lstStyle/>
          <a:p>
            <a:pPr>
              <a:defRPr/>
            </a:pPr>
            <a:r>
              <a:rPr lang="de-DE" dirty="0">
                <a:solidFill>
                  <a:srgbClr val="000000"/>
                </a:solidFill>
              </a:rPr>
              <a:t>Alen Sebastian – Development of a Parametric tool for Automated Slot Insulation Insertion in Small scale Electric Stator Production</a:t>
            </a:r>
          </a:p>
          <a:p>
            <a:pPr>
              <a:defRPr/>
            </a:pP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21" name="Straight Connector 20">
            <a:extLst>
              <a:ext uri="{FF2B5EF4-FFF2-40B4-BE49-F238E27FC236}">
                <a16:creationId xmlns:a16="http://schemas.microsoft.com/office/drawing/2014/main" id="{33D8970F-37A8-73FA-D183-2C1BE3EC49E8}"/>
              </a:ext>
            </a:extLst>
          </p:cNvPr>
          <p:cNvSpPr/>
          <p:nvPr/>
        </p:nvSpPr>
        <p:spPr>
          <a:xfrm>
            <a:off x="3605900" y="5301208"/>
            <a:ext cx="3956989" cy="0"/>
          </a:xfrm>
          <a:prstGeom prst="line">
            <a:avLst/>
          </a:prstGeom>
        </p:spPr>
        <p:style>
          <a:lnRef idx="2">
            <a:schemeClr val="accent1">
              <a:shade val="60000"/>
              <a:hueOff val="0"/>
              <a:satOff val="0"/>
              <a:lumOff val="0"/>
              <a:alphaOff val="0"/>
            </a:schemeClr>
          </a:lnRef>
          <a:fillRef idx="0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/>
          <a:lstStyle/>
          <a:p>
            <a:endParaRPr lang="en-IN" dirty="0"/>
          </a:p>
        </p:txBody>
      </p:sp>
      <p:grpSp>
        <p:nvGrpSpPr>
          <p:cNvPr id="34" name="Group 33">
            <a:extLst>
              <a:ext uri="{FF2B5EF4-FFF2-40B4-BE49-F238E27FC236}">
                <a16:creationId xmlns:a16="http://schemas.microsoft.com/office/drawing/2014/main" id="{61178119-DBDC-11C6-B983-0FBF548E027C}"/>
              </a:ext>
            </a:extLst>
          </p:cNvPr>
          <p:cNvGrpSpPr/>
          <p:nvPr/>
        </p:nvGrpSpPr>
        <p:grpSpPr>
          <a:xfrm>
            <a:off x="1415480" y="1412776"/>
            <a:ext cx="9377790" cy="4245256"/>
            <a:chOff x="1415480" y="1397000"/>
            <a:chExt cx="9377790" cy="4245256"/>
          </a:xfrm>
        </p:grpSpPr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67AA7C47-FBC6-1F33-E681-C400480A3080}"/>
                </a:ext>
              </a:extLst>
            </p:cNvPr>
            <p:cNvSpPr/>
            <p:nvPr/>
          </p:nvSpPr>
          <p:spPr>
            <a:xfrm>
              <a:off x="7568870" y="4937140"/>
              <a:ext cx="3224400" cy="705116"/>
            </a:xfrm>
            <a:prstGeom prst="rect">
              <a:avLst/>
            </a:prstGeom>
            <a:solidFill>
              <a:srgbClr val="C5DE8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0000" tIns="46800" rIns="90000" bIns="468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600"/>
                </a:spcBef>
              </a:pPr>
              <a:r>
                <a:rPr lang="en-US" sz="1800" b="1" dirty="0">
                  <a:solidFill>
                    <a:schemeClr val="tx1"/>
                  </a:solidFill>
                </a:rPr>
                <a:t>Winding Retention</a:t>
              </a:r>
              <a:endParaRPr lang="en-IN" sz="1800" b="1" dirty="0" err="1">
                <a:solidFill>
                  <a:schemeClr val="tx1"/>
                </a:solidFill>
              </a:endParaRPr>
            </a:p>
          </p:txBody>
        </p:sp>
        <p:grpSp>
          <p:nvGrpSpPr>
            <p:cNvPr id="33" name="Group 32">
              <a:extLst>
                <a:ext uri="{FF2B5EF4-FFF2-40B4-BE49-F238E27FC236}">
                  <a16:creationId xmlns:a16="http://schemas.microsoft.com/office/drawing/2014/main" id="{8C7AABCB-F461-7CA4-4D1A-9C0D56534DAA}"/>
                </a:ext>
              </a:extLst>
            </p:cNvPr>
            <p:cNvGrpSpPr/>
            <p:nvPr/>
          </p:nvGrpSpPr>
          <p:grpSpPr>
            <a:xfrm>
              <a:off x="1415480" y="1397000"/>
              <a:ext cx="9371809" cy="4064000"/>
              <a:chOff x="1415480" y="1397000"/>
              <a:chExt cx="9371809" cy="4064000"/>
            </a:xfrm>
          </p:grpSpPr>
          <p:grpSp>
            <p:nvGrpSpPr>
              <p:cNvPr id="32" name="Group 31">
                <a:extLst>
                  <a:ext uri="{FF2B5EF4-FFF2-40B4-BE49-F238E27FC236}">
                    <a16:creationId xmlns:a16="http://schemas.microsoft.com/office/drawing/2014/main" id="{F0C19781-51BA-31C1-F478-D84A70285D8A}"/>
                  </a:ext>
                </a:extLst>
              </p:cNvPr>
              <p:cNvGrpSpPr/>
              <p:nvPr/>
            </p:nvGrpSpPr>
            <p:grpSpPr>
              <a:xfrm>
                <a:off x="1415480" y="1397000"/>
                <a:ext cx="9371809" cy="4064000"/>
                <a:chOff x="1415480" y="1397000"/>
                <a:chExt cx="9371809" cy="4064000"/>
              </a:xfrm>
            </p:grpSpPr>
            <p:grpSp>
              <p:nvGrpSpPr>
                <p:cNvPr id="31" name="Group 30">
                  <a:extLst>
                    <a:ext uri="{FF2B5EF4-FFF2-40B4-BE49-F238E27FC236}">
                      <a16:creationId xmlns:a16="http://schemas.microsoft.com/office/drawing/2014/main" id="{888FAE2A-C7EA-F22C-12B0-232807B8995B}"/>
                    </a:ext>
                  </a:extLst>
                </p:cNvPr>
                <p:cNvGrpSpPr/>
                <p:nvPr/>
              </p:nvGrpSpPr>
              <p:grpSpPr>
                <a:xfrm>
                  <a:off x="1415480" y="1397000"/>
                  <a:ext cx="9371809" cy="4064000"/>
                  <a:chOff x="1415480" y="1397000"/>
                  <a:chExt cx="9371809" cy="4064000"/>
                </a:xfrm>
              </p:grpSpPr>
              <p:grpSp>
                <p:nvGrpSpPr>
                  <p:cNvPr id="7" name="Group 6">
                    <a:extLst>
                      <a:ext uri="{FF2B5EF4-FFF2-40B4-BE49-F238E27FC236}">
                        <a16:creationId xmlns:a16="http://schemas.microsoft.com/office/drawing/2014/main" id="{B1F23C09-3454-BA9D-4282-C199E81E0B7E}"/>
                      </a:ext>
                    </a:extLst>
                  </p:cNvPr>
                  <p:cNvGrpSpPr/>
                  <p:nvPr/>
                </p:nvGrpSpPr>
                <p:grpSpPr>
                  <a:xfrm>
                    <a:off x="1415480" y="1397000"/>
                    <a:ext cx="6862470" cy="4064000"/>
                    <a:chOff x="2664764" y="1396999"/>
                    <a:chExt cx="6862470" cy="4064000"/>
                  </a:xfrm>
                </p:grpSpPr>
                <p:sp>
                  <p:nvSpPr>
                    <p:cNvPr id="8" name="Straight Connector 7">
                      <a:extLst>
                        <a:ext uri="{FF2B5EF4-FFF2-40B4-BE49-F238E27FC236}">
                          <a16:creationId xmlns:a16="http://schemas.microsoft.com/office/drawing/2014/main" id="{0558EEE2-C5E4-BF6A-61E8-43F45359EF58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4731917" y="4189037"/>
                      <a:ext cx="4080256" cy="0"/>
                    </a:xfrm>
                    <a:prstGeom prst="line">
                      <a:avLst/>
                    </a:prstGeom>
                  </p:spPr>
                  <p:style>
                    <a:lnRef idx="2">
                      <a:schemeClr val="accent1">
                        <a:shade val="60000"/>
                        <a:hueOff val="0"/>
                        <a:satOff val="0"/>
                        <a:lumOff val="0"/>
                        <a:alphaOff val="0"/>
                      </a:schemeClr>
                    </a:lnRef>
                    <a:fillRef idx="0">
                      <a:schemeClr val="accent1">
                        <a:hueOff val="0"/>
                        <a:satOff val="0"/>
                        <a:lumOff val="0"/>
                        <a:alphaOff val="0"/>
                      </a:schemeClr>
                    </a:fillRef>
                    <a:effectRef idx="0">
                      <a:schemeClr val="accent1">
                        <a:hueOff val="0"/>
                        <a:satOff val="0"/>
                        <a:lumOff val="0"/>
                        <a:alphaOff val="0"/>
                      </a:schemeClr>
                    </a:effectRef>
                    <a:fontRef idx="minor">
                      <a:schemeClr val="tx1">
                        <a:hueOff val="0"/>
                        <a:satOff val="0"/>
                        <a:lumOff val="0"/>
                        <a:alphaOff val="0"/>
                      </a:schemeClr>
                    </a:fontRef>
                  </p:style>
                  <p:txBody>
                    <a:bodyPr/>
                    <a:lstStyle/>
                    <a:p>
                      <a:endParaRPr lang="en-IN" dirty="0"/>
                    </a:p>
                  </p:txBody>
                </p:sp>
                <p:sp>
                  <p:nvSpPr>
                    <p:cNvPr id="9" name="Straight Connector 8">
                      <a:extLst>
                        <a:ext uri="{FF2B5EF4-FFF2-40B4-BE49-F238E27FC236}">
                          <a16:creationId xmlns:a16="http://schemas.microsoft.com/office/drawing/2014/main" id="{2AE8C058-056B-5A01-10F9-342CC474343A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4793062" y="3056833"/>
                      <a:ext cx="4080256" cy="7189"/>
                    </a:xfrm>
                    <a:prstGeom prst="line">
                      <a:avLst/>
                    </a:prstGeom>
                  </p:spPr>
                  <p:style>
                    <a:lnRef idx="2">
                      <a:schemeClr val="accent1">
                        <a:shade val="60000"/>
                        <a:hueOff val="0"/>
                        <a:satOff val="0"/>
                        <a:lumOff val="0"/>
                        <a:alphaOff val="0"/>
                      </a:schemeClr>
                    </a:lnRef>
                    <a:fillRef idx="0">
                      <a:schemeClr val="accent1">
                        <a:hueOff val="0"/>
                        <a:satOff val="0"/>
                        <a:lumOff val="0"/>
                        <a:alphaOff val="0"/>
                      </a:schemeClr>
                    </a:fillRef>
                    <a:effectRef idx="0">
                      <a:schemeClr val="accent1">
                        <a:hueOff val="0"/>
                        <a:satOff val="0"/>
                        <a:lumOff val="0"/>
                        <a:alphaOff val="0"/>
                      </a:schemeClr>
                    </a:effectRef>
                    <a:fontRef idx="minor">
                      <a:schemeClr val="tx1">
                        <a:hueOff val="0"/>
                        <a:satOff val="0"/>
                        <a:lumOff val="0"/>
                        <a:alphaOff val="0"/>
                      </a:schemeClr>
                    </a:fontRef>
                  </p:style>
                  <p:txBody>
                    <a:bodyPr/>
                    <a:lstStyle/>
                    <a:p>
                      <a:endParaRPr lang="en-IN" dirty="0"/>
                    </a:p>
                  </p:txBody>
                </p:sp>
                <p:sp>
                  <p:nvSpPr>
                    <p:cNvPr id="10" name="Straight Connector 9">
                      <a:extLst>
                        <a:ext uri="{FF2B5EF4-FFF2-40B4-BE49-F238E27FC236}">
                          <a16:creationId xmlns:a16="http://schemas.microsoft.com/office/drawing/2014/main" id="{450DA0F6-74B4-C50D-B2F6-8F95DDE7F285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4696764" y="2006599"/>
                      <a:ext cx="4080256" cy="0"/>
                    </a:xfrm>
                    <a:prstGeom prst="line">
                      <a:avLst/>
                    </a:prstGeom>
                  </p:spPr>
                  <p:style>
                    <a:lnRef idx="2">
                      <a:schemeClr val="accent1">
                        <a:shade val="60000"/>
                        <a:hueOff val="0"/>
                        <a:satOff val="0"/>
                        <a:lumOff val="0"/>
                        <a:alphaOff val="0"/>
                      </a:schemeClr>
                    </a:lnRef>
                    <a:fillRef idx="0">
                      <a:schemeClr val="accent1">
                        <a:hueOff val="0"/>
                        <a:satOff val="0"/>
                        <a:lumOff val="0"/>
                        <a:alphaOff val="0"/>
                      </a:schemeClr>
                    </a:fillRef>
                    <a:effectRef idx="0">
                      <a:schemeClr val="accent1">
                        <a:hueOff val="0"/>
                        <a:satOff val="0"/>
                        <a:lumOff val="0"/>
                        <a:alphaOff val="0"/>
                      </a:schemeClr>
                    </a:effectRef>
                    <a:fontRef idx="minor">
                      <a:schemeClr val="tx1">
                        <a:hueOff val="0"/>
                        <a:satOff val="0"/>
                        <a:lumOff val="0"/>
                        <a:alphaOff val="0"/>
                      </a:schemeClr>
                    </a:fontRef>
                  </p:style>
                  <p:txBody>
                    <a:bodyPr/>
                    <a:lstStyle/>
                    <a:p>
                      <a:endParaRPr lang="en-IN"/>
                    </a:p>
                  </p:txBody>
                </p:sp>
                <p:sp>
                  <p:nvSpPr>
                    <p:cNvPr id="11" name="Flowchart: Process 10">
                      <a:extLst>
                        <a:ext uri="{FF2B5EF4-FFF2-40B4-BE49-F238E27FC236}">
                          <a16:creationId xmlns:a16="http://schemas.microsoft.com/office/drawing/2014/main" id="{0A38E785-621E-89C8-F53E-E1336C31D9BD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2664764" y="1396999"/>
                      <a:ext cx="4064000" cy="4064000"/>
                    </a:xfrm>
                    <a:prstGeom prst="flowChartProcess">
                      <a:avLst/>
                    </a:prstGeom>
                    <a:blipFill>
                      <a:blip r:embed="rId3"/>
                      <a:srcRect/>
                      <a:stretch>
                        <a:fillRect l="-18000" r="-18000"/>
                      </a:stretch>
                    </a:blipFill>
                  </p:spPr>
                  <p:style>
                    <a:lnRef idx="2">
                      <a:schemeClr val="lt1">
                        <a:hueOff val="0"/>
                        <a:satOff val="0"/>
                        <a:lumOff val="0"/>
                        <a:alphaOff val="0"/>
                      </a:schemeClr>
                    </a:lnRef>
                    <a:fillRef idx="1">
                      <a:scrgbClr r="0" g="0" b="0"/>
                    </a:fillRef>
                    <a:effectRef idx="0">
                      <a:schemeClr val="accent1">
                        <a:tint val="50000"/>
                        <a:hueOff val="0"/>
                        <a:satOff val="0"/>
                        <a:lumOff val="0"/>
                        <a:alphaOff val="0"/>
                      </a:schemeClr>
                    </a:effectRef>
                    <a:fontRef idx="minor">
                      <a:schemeClr val="lt1">
                        <a:hueOff val="0"/>
                        <a:satOff val="0"/>
                        <a:lumOff val="0"/>
                        <a:alphaOff val="0"/>
                      </a:schemeClr>
                    </a:fontRef>
                  </p:style>
                  <p:txBody>
                    <a:bodyPr/>
                    <a:lstStyle/>
                    <a:p>
                      <a:endParaRPr lang="en-IN"/>
                    </a:p>
                  </p:txBody>
                </p:sp>
                <p:sp>
                  <p:nvSpPr>
                    <p:cNvPr id="12" name="Freeform: Shape 11">
                      <a:extLst>
                        <a:ext uri="{FF2B5EF4-FFF2-40B4-BE49-F238E27FC236}">
                          <a16:creationId xmlns:a16="http://schemas.microsoft.com/office/drawing/2014/main" id="{37357C22-B61C-1E0A-5D70-B0802F031D16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3396284" y="3554983"/>
                      <a:ext cx="2600960" cy="1341120"/>
                    </a:xfrm>
                    <a:custGeom>
                      <a:avLst/>
                      <a:gdLst>
                        <a:gd name="connsiteX0" fmla="*/ 0 w 2600960"/>
                        <a:gd name="connsiteY0" fmla="*/ 0 h 1341120"/>
                        <a:gd name="connsiteX1" fmla="*/ 2600960 w 2600960"/>
                        <a:gd name="connsiteY1" fmla="*/ 0 h 1341120"/>
                        <a:gd name="connsiteX2" fmla="*/ 2600960 w 2600960"/>
                        <a:gd name="connsiteY2" fmla="*/ 1341120 h 1341120"/>
                        <a:gd name="connsiteX3" fmla="*/ 0 w 2600960"/>
                        <a:gd name="connsiteY3" fmla="*/ 1341120 h 1341120"/>
                        <a:gd name="connsiteX4" fmla="*/ 0 w 2600960"/>
                        <a:gd name="connsiteY4" fmla="*/ 0 h 134112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2600960" h="1341120">
                          <a:moveTo>
                            <a:pt x="0" y="0"/>
                          </a:moveTo>
                          <a:lnTo>
                            <a:pt x="2600960" y="0"/>
                          </a:lnTo>
                          <a:lnTo>
                            <a:pt x="2600960" y="1341120"/>
                          </a:lnTo>
                          <a:lnTo>
                            <a:pt x="0" y="1341120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noFill/>
                    <a:ln>
                      <a:noFill/>
                    </a:ln>
                    <a:sp3d/>
                  </p:spPr>
                  <p:style>
                    <a:lnRef idx="2">
                      <a:scrgbClr r="0" g="0" b="0"/>
                    </a:lnRef>
                    <a:fillRef idx="1">
                      <a:scrgbClr r="0" g="0" b="0"/>
                    </a:fillRef>
                    <a:effectRef idx="0">
                      <a:schemeClr val="accent1">
                        <a:hueOff val="0"/>
                        <a:satOff val="0"/>
                        <a:lumOff val="0"/>
                        <a:alphaOff val="0"/>
                      </a:schemeClr>
                    </a:effectRef>
                    <a:fontRef idx="minor">
                      <a:schemeClr val="lt1"/>
                    </a:fontRef>
                  </p:style>
                  <p:txBody>
                    <a:bodyPr spcFirstLastPara="0" vert="horz" wrap="square" lIns="0" tIns="0" rIns="0" bIns="0" numCol="1" spcCol="1270" anchor="b" anchorCtr="0">
                      <a:noAutofit/>
                    </a:bodyPr>
                    <a:lstStyle/>
                    <a:p>
                      <a:pPr marL="0" lvl="0" indent="0" algn="ctr" defTabSz="2889250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35000"/>
                        </a:spcAft>
                        <a:buNone/>
                      </a:pPr>
                      <a:endParaRPr lang="en-IN" sz="6500" kern="1200"/>
                    </a:p>
                  </p:txBody>
                </p:sp>
                <p:sp>
                  <p:nvSpPr>
                    <p:cNvPr id="14" name="Freeform: Shape 13">
                      <a:extLst>
                        <a:ext uri="{FF2B5EF4-FFF2-40B4-BE49-F238E27FC236}">
                          <a16:creationId xmlns:a16="http://schemas.microsoft.com/office/drawing/2014/main" id="{05693404-00D0-3B3C-F0B5-C72BE3AD632E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9386620" y="1396999"/>
                      <a:ext cx="140614" cy="1219200"/>
                    </a:xfrm>
                    <a:custGeom>
                      <a:avLst/>
                      <a:gdLst>
                        <a:gd name="connsiteX0" fmla="*/ 0 w 140614"/>
                        <a:gd name="connsiteY0" fmla="*/ 0 h 1219200"/>
                        <a:gd name="connsiteX1" fmla="*/ 140614 w 140614"/>
                        <a:gd name="connsiteY1" fmla="*/ 0 h 1219200"/>
                        <a:gd name="connsiteX2" fmla="*/ 140614 w 140614"/>
                        <a:gd name="connsiteY2" fmla="*/ 1219200 h 1219200"/>
                        <a:gd name="connsiteX3" fmla="*/ 0 w 140614"/>
                        <a:gd name="connsiteY3" fmla="*/ 1219200 h 1219200"/>
                        <a:gd name="connsiteX4" fmla="*/ 0 w 140614"/>
                        <a:gd name="connsiteY4" fmla="*/ 0 h 12192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140614" h="1219200">
                          <a:moveTo>
                            <a:pt x="0" y="0"/>
                          </a:moveTo>
                          <a:lnTo>
                            <a:pt x="140614" y="0"/>
                          </a:lnTo>
                          <a:lnTo>
                            <a:pt x="140614" y="1219200"/>
                          </a:lnTo>
                          <a:lnTo>
                            <a:pt x="0" y="1219200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</p:spPr>
                  <p:style>
                    <a:lnRef idx="0">
                      <a:schemeClr val="dk1">
                        <a:alpha val="0"/>
                        <a:hueOff val="0"/>
                        <a:satOff val="0"/>
                        <a:lumOff val="0"/>
                        <a:alphaOff val="0"/>
                      </a:schemeClr>
                    </a:lnRef>
                    <a:fillRef idx="0">
                      <a:schemeClr val="lt1">
                        <a:alpha val="0"/>
                        <a:hueOff val="0"/>
                        <a:satOff val="0"/>
                        <a:lumOff val="0"/>
                        <a:alphaOff val="0"/>
                      </a:schemeClr>
                    </a:fillRef>
                    <a:effectRef idx="0">
                      <a:schemeClr val="lt1">
                        <a:alpha val="0"/>
                        <a:hueOff val="0"/>
                        <a:satOff val="0"/>
                        <a:lumOff val="0"/>
                        <a:alphaOff val="0"/>
                      </a:schemeClr>
                    </a:effectRef>
                    <a:fontRef idx="minor">
                      <a:schemeClr val="tx1">
                        <a:hueOff val="0"/>
                        <a:satOff val="0"/>
                        <a:lumOff val="0"/>
                        <a:alphaOff val="0"/>
                      </a:schemeClr>
                    </a:fontRef>
                  </p:style>
                  <p:txBody>
                    <a:bodyPr spcFirstLastPara="0" vert="horz" wrap="square" lIns="19050" tIns="0" rIns="19050" bIns="0" numCol="1" spcCol="1270" anchor="ctr" anchorCtr="0">
                      <a:noAutofit/>
                    </a:bodyPr>
                    <a:lstStyle/>
                    <a:p>
                      <a:pPr marL="0" lvl="0" indent="0" algn="l" defTabSz="222250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35000"/>
                        </a:spcAft>
                        <a:buNone/>
                      </a:pPr>
                      <a:endParaRPr lang="en-IN" sz="500" kern="1200"/>
                    </a:p>
                  </p:txBody>
                </p:sp>
                <p:sp>
                  <p:nvSpPr>
                    <p:cNvPr id="16" name="Freeform: Shape 15">
                      <a:extLst>
                        <a:ext uri="{FF2B5EF4-FFF2-40B4-BE49-F238E27FC236}">
                          <a16:creationId xmlns:a16="http://schemas.microsoft.com/office/drawing/2014/main" id="{2A7FFA9D-E2C2-9AC6-1A55-261ECCF3645D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8801404" y="2819399"/>
                      <a:ext cx="199136" cy="1219200"/>
                    </a:xfrm>
                    <a:custGeom>
                      <a:avLst/>
                      <a:gdLst>
                        <a:gd name="connsiteX0" fmla="*/ 0 w 199136"/>
                        <a:gd name="connsiteY0" fmla="*/ 0 h 1219200"/>
                        <a:gd name="connsiteX1" fmla="*/ 199136 w 199136"/>
                        <a:gd name="connsiteY1" fmla="*/ 0 h 1219200"/>
                        <a:gd name="connsiteX2" fmla="*/ 199136 w 199136"/>
                        <a:gd name="connsiteY2" fmla="*/ 1219200 h 1219200"/>
                        <a:gd name="connsiteX3" fmla="*/ 0 w 199136"/>
                        <a:gd name="connsiteY3" fmla="*/ 1219200 h 1219200"/>
                        <a:gd name="connsiteX4" fmla="*/ 0 w 199136"/>
                        <a:gd name="connsiteY4" fmla="*/ 0 h 12192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199136" h="1219200">
                          <a:moveTo>
                            <a:pt x="0" y="0"/>
                          </a:moveTo>
                          <a:lnTo>
                            <a:pt x="199136" y="0"/>
                          </a:lnTo>
                          <a:lnTo>
                            <a:pt x="199136" y="1219200"/>
                          </a:lnTo>
                          <a:lnTo>
                            <a:pt x="0" y="1219200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</p:spPr>
                  <p:style>
                    <a:lnRef idx="0">
                      <a:schemeClr val="dk1">
                        <a:alpha val="0"/>
                        <a:hueOff val="0"/>
                        <a:satOff val="0"/>
                        <a:lumOff val="0"/>
                        <a:alphaOff val="0"/>
                      </a:schemeClr>
                    </a:lnRef>
                    <a:fillRef idx="0">
                      <a:schemeClr val="lt1">
                        <a:alpha val="0"/>
                        <a:hueOff val="0"/>
                        <a:satOff val="0"/>
                        <a:lumOff val="0"/>
                        <a:alphaOff val="0"/>
                      </a:schemeClr>
                    </a:fillRef>
                    <a:effectRef idx="0">
                      <a:schemeClr val="lt1">
                        <a:alpha val="0"/>
                        <a:hueOff val="0"/>
                        <a:satOff val="0"/>
                        <a:lumOff val="0"/>
                        <a:alphaOff val="0"/>
                      </a:schemeClr>
                    </a:effectRef>
                    <a:fontRef idx="minor">
                      <a:schemeClr val="tx1">
                        <a:hueOff val="0"/>
                        <a:satOff val="0"/>
                        <a:lumOff val="0"/>
                        <a:alphaOff val="0"/>
                      </a:schemeClr>
                    </a:fontRef>
                  </p:style>
                  <p:txBody>
                    <a:bodyPr spcFirstLastPara="0" vert="horz" wrap="square" lIns="19050" tIns="0" rIns="19050" bIns="0" numCol="1" spcCol="1270" anchor="ctr" anchorCtr="0">
                      <a:noAutofit/>
                    </a:bodyPr>
                    <a:lstStyle/>
                    <a:p>
                      <a:pPr marL="0" lvl="0" indent="0" algn="l" defTabSz="222250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35000"/>
                        </a:spcAft>
                        <a:buNone/>
                      </a:pPr>
                      <a:endParaRPr lang="en-IN" sz="500" kern="1200"/>
                    </a:p>
                  </p:txBody>
                </p:sp>
                <p:sp>
                  <p:nvSpPr>
                    <p:cNvPr id="18" name="Freeform: Shape 17">
                      <a:extLst>
                        <a:ext uri="{FF2B5EF4-FFF2-40B4-BE49-F238E27FC236}">
                          <a16:creationId xmlns:a16="http://schemas.microsoft.com/office/drawing/2014/main" id="{E8BC8315-A4D0-95AE-D483-72DB92F263AD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9386620" y="4241799"/>
                      <a:ext cx="140614" cy="1219200"/>
                    </a:xfrm>
                    <a:custGeom>
                      <a:avLst/>
                      <a:gdLst>
                        <a:gd name="connsiteX0" fmla="*/ 0 w 140614"/>
                        <a:gd name="connsiteY0" fmla="*/ 0 h 1219200"/>
                        <a:gd name="connsiteX1" fmla="*/ 140614 w 140614"/>
                        <a:gd name="connsiteY1" fmla="*/ 0 h 1219200"/>
                        <a:gd name="connsiteX2" fmla="*/ 140614 w 140614"/>
                        <a:gd name="connsiteY2" fmla="*/ 1219200 h 1219200"/>
                        <a:gd name="connsiteX3" fmla="*/ 0 w 140614"/>
                        <a:gd name="connsiteY3" fmla="*/ 1219200 h 1219200"/>
                        <a:gd name="connsiteX4" fmla="*/ 0 w 140614"/>
                        <a:gd name="connsiteY4" fmla="*/ 0 h 12192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140614" h="1219200">
                          <a:moveTo>
                            <a:pt x="0" y="0"/>
                          </a:moveTo>
                          <a:lnTo>
                            <a:pt x="140614" y="0"/>
                          </a:lnTo>
                          <a:lnTo>
                            <a:pt x="140614" y="1219200"/>
                          </a:lnTo>
                          <a:lnTo>
                            <a:pt x="0" y="1219200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</p:spPr>
                  <p:style>
                    <a:lnRef idx="0">
                      <a:schemeClr val="dk1">
                        <a:alpha val="0"/>
                        <a:hueOff val="0"/>
                        <a:satOff val="0"/>
                        <a:lumOff val="0"/>
                        <a:alphaOff val="0"/>
                      </a:schemeClr>
                    </a:lnRef>
                    <a:fillRef idx="0">
                      <a:schemeClr val="lt1">
                        <a:alpha val="0"/>
                        <a:hueOff val="0"/>
                        <a:satOff val="0"/>
                        <a:lumOff val="0"/>
                        <a:alphaOff val="0"/>
                      </a:schemeClr>
                    </a:fillRef>
                    <a:effectRef idx="0">
                      <a:schemeClr val="lt1">
                        <a:alpha val="0"/>
                        <a:hueOff val="0"/>
                        <a:satOff val="0"/>
                        <a:lumOff val="0"/>
                        <a:alphaOff val="0"/>
                      </a:schemeClr>
                    </a:effectRef>
                    <a:fontRef idx="minor">
                      <a:schemeClr val="tx1">
                        <a:hueOff val="0"/>
                        <a:satOff val="0"/>
                        <a:lumOff val="0"/>
                        <a:alphaOff val="0"/>
                      </a:schemeClr>
                    </a:fontRef>
                  </p:style>
                  <p:txBody>
                    <a:bodyPr spcFirstLastPara="0" vert="horz" wrap="square" lIns="19050" tIns="0" rIns="19050" bIns="0" numCol="1" spcCol="1270" anchor="ctr" anchorCtr="0">
                      <a:noAutofit/>
                    </a:bodyPr>
                    <a:lstStyle/>
                    <a:p>
                      <a:pPr marL="0" lvl="0" indent="0" algn="l" defTabSz="222250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35000"/>
                        </a:spcAft>
                        <a:buNone/>
                      </a:pPr>
                      <a:endParaRPr lang="en-IN" sz="500" kern="1200"/>
                    </a:p>
                  </p:txBody>
                </p:sp>
              </p:grpSp>
              <p:grpSp>
                <p:nvGrpSpPr>
                  <p:cNvPr id="27" name="Group 26">
                    <a:extLst>
                      <a:ext uri="{FF2B5EF4-FFF2-40B4-BE49-F238E27FC236}">
                        <a16:creationId xmlns:a16="http://schemas.microsoft.com/office/drawing/2014/main" id="{8F4843D0-5541-3644-C0DA-1C03468DC4BD}"/>
                      </a:ext>
                    </a:extLst>
                  </p:cNvPr>
                  <p:cNvGrpSpPr/>
                  <p:nvPr/>
                </p:nvGrpSpPr>
                <p:grpSpPr>
                  <a:xfrm>
                    <a:off x="7562889" y="1677976"/>
                    <a:ext cx="3224400" cy="705116"/>
                    <a:chOff x="7562889" y="1677976"/>
                    <a:chExt cx="3224400" cy="705116"/>
                  </a:xfrm>
                </p:grpSpPr>
                <p:sp>
                  <p:nvSpPr>
                    <p:cNvPr id="19" name="Rectangle 18">
                      <a:extLst>
                        <a:ext uri="{FF2B5EF4-FFF2-40B4-BE49-F238E27FC236}">
                          <a16:creationId xmlns:a16="http://schemas.microsoft.com/office/drawing/2014/main" id="{3695CCFD-3258-6390-62E5-EE5992D7CAF9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7562889" y="1677976"/>
                      <a:ext cx="3224400" cy="705116"/>
                    </a:xfrm>
                    <a:prstGeom prst="rect">
                      <a:avLst/>
                    </a:prstGeom>
                    <a:solidFill>
                      <a:srgbClr val="C5DE89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Overflow="overflow" horzOverflow="overflow" vert="horz" wrap="square" lIns="90000" tIns="46800" rIns="90000" bIns="4680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ctr">
                        <a:spcBef>
                          <a:spcPts val="600"/>
                        </a:spcBef>
                      </a:pPr>
                      <a:endParaRPr lang="en-IN" dirty="0" err="1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24" name="TextBox 23">
                      <a:extLst>
                        <a:ext uri="{FF2B5EF4-FFF2-40B4-BE49-F238E27FC236}">
                          <a16:creationId xmlns:a16="http://schemas.microsoft.com/office/drawing/2014/main" id="{83D4EDCE-BED2-B183-4F75-BEF0092186DA}"/>
                        </a:ext>
                      </a:extLst>
                    </p:cNvPr>
                    <p:cNvSpPr txBox="1"/>
                    <p:nvPr/>
                  </p:nvSpPr>
                  <p:spPr>
                    <a:xfrm>
                      <a:off x="8148105" y="1912627"/>
                      <a:ext cx="2258162" cy="235814"/>
                    </a:xfrm>
                    <a:prstGeom prst="rect">
                      <a:avLst/>
                    </a:prstGeom>
                    <a:noFill/>
                  </p:spPr>
                  <p:txBody>
                    <a:bodyPr wrap="square" lIns="0" tIns="0" rIns="0" bIns="0" rtlCol="0">
                      <a:noAutofit/>
                    </a:bodyPr>
                    <a:lstStyle/>
                    <a:p>
                      <a:pPr>
                        <a:buClr>
                          <a:srgbClr val="97C139"/>
                        </a:buClr>
                      </a:pPr>
                      <a:r>
                        <a:rPr lang="en-US" sz="1800" b="1" dirty="0"/>
                        <a:t>Electrical Insulation</a:t>
                      </a:r>
                      <a:endParaRPr lang="en-IN" sz="1800" dirty="0" err="1"/>
                    </a:p>
                  </p:txBody>
                </p:sp>
              </p:grpSp>
            </p:grpSp>
            <p:grpSp>
              <p:nvGrpSpPr>
                <p:cNvPr id="28" name="Group 27">
                  <a:extLst>
                    <a:ext uri="{FF2B5EF4-FFF2-40B4-BE49-F238E27FC236}">
                      <a16:creationId xmlns:a16="http://schemas.microsoft.com/office/drawing/2014/main" id="{E8376C21-7528-8B82-8C0E-4AEAE257ABF3}"/>
                    </a:ext>
                  </a:extLst>
                </p:cNvPr>
                <p:cNvGrpSpPr/>
                <p:nvPr/>
              </p:nvGrpSpPr>
              <p:grpSpPr>
                <a:xfrm>
                  <a:off x="7562889" y="2700849"/>
                  <a:ext cx="3224400" cy="705116"/>
                  <a:chOff x="7562889" y="2700849"/>
                  <a:chExt cx="3224400" cy="705116"/>
                </a:xfrm>
              </p:grpSpPr>
              <p:sp>
                <p:nvSpPr>
                  <p:cNvPr id="20" name="Rectangle 19">
                    <a:extLst>
                      <a:ext uri="{FF2B5EF4-FFF2-40B4-BE49-F238E27FC236}">
                        <a16:creationId xmlns:a16="http://schemas.microsoft.com/office/drawing/2014/main" id="{ADD4F0E8-19C7-0B88-8F4F-5CDC71DC25BC}"/>
                      </a:ext>
                    </a:extLst>
                  </p:cNvPr>
                  <p:cNvSpPr/>
                  <p:nvPr/>
                </p:nvSpPr>
                <p:spPr>
                  <a:xfrm>
                    <a:off x="7562889" y="2700849"/>
                    <a:ext cx="3224400" cy="705116"/>
                  </a:xfrm>
                  <a:prstGeom prst="rect">
                    <a:avLst/>
                  </a:prstGeom>
                  <a:solidFill>
                    <a:srgbClr val="C5DE8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90000" tIns="46800" rIns="90000" bIns="4680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ctr">
                      <a:spcBef>
                        <a:spcPts val="600"/>
                      </a:spcBef>
                    </a:pPr>
                    <a:endParaRPr lang="en-IN" dirty="0" err="1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5" name="TextBox 24">
                    <a:extLst>
                      <a:ext uri="{FF2B5EF4-FFF2-40B4-BE49-F238E27FC236}">
                        <a16:creationId xmlns:a16="http://schemas.microsoft.com/office/drawing/2014/main" id="{237868A7-411A-63F3-16CB-80DC6E6265B0}"/>
                      </a:ext>
                    </a:extLst>
                  </p:cNvPr>
                  <p:cNvSpPr txBox="1"/>
                  <p:nvPr/>
                </p:nvSpPr>
                <p:spPr>
                  <a:xfrm>
                    <a:off x="7973824" y="2926431"/>
                    <a:ext cx="2808312" cy="388090"/>
                  </a:xfrm>
                  <a:prstGeom prst="rect">
                    <a:avLst/>
                  </a:prstGeom>
                  <a:noFill/>
                </p:spPr>
                <p:txBody>
                  <a:bodyPr wrap="square" lIns="0" tIns="0" rIns="0" bIns="0" rtlCol="0">
                    <a:noAutofit/>
                  </a:bodyPr>
                  <a:lstStyle/>
                  <a:p>
                    <a:pPr>
                      <a:buClr>
                        <a:srgbClr val="97C139"/>
                      </a:buClr>
                    </a:pPr>
                    <a:r>
                      <a:rPr lang="en-US" sz="1800" b="1" dirty="0"/>
                      <a:t>Thermal Management</a:t>
                    </a:r>
                    <a:endParaRPr lang="en-IN" sz="1800" dirty="0" err="1"/>
                  </a:p>
                </p:txBody>
              </p:sp>
            </p:grpSp>
          </p:grpSp>
          <p:grpSp>
            <p:nvGrpSpPr>
              <p:cNvPr id="30" name="Group 29">
                <a:extLst>
                  <a:ext uri="{FF2B5EF4-FFF2-40B4-BE49-F238E27FC236}">
                    <a16:creationId xmlns:a16="http://schemas.microsoft.com/office/drawing/2014/main" id="{CF9561CA-D27B-CED5-A920-341000481EEF}"/>
                  </a:ext>
                </a:extLst>
              </p:cNvPr>
              <p:cNvGrpSpPr/>
              <p:nvPr/>
            </p:nvGrpSpPr>
            <p:grpSpPr>
              <a:xfrm>
                <a:off x="7562889" y="3856073"/>
                <a:ext cx="3224400" cy="705116"/>
                <a:chOff x="7562889" y="3856073"/>
                <a:chExt cx="3224400" cy="705116"/>
              </a:xfrm>
            </p:grpSpPr>
            <p:sp>
              <p:nvSpPr>
                <p:cNvPr id="22" name="Rectangle 21">
                  <a:extLst>
                    <a:ext uri="{FF2B5EF4-FFF2-40B4-BE49-F238E27FC236}">
                      <a16:creationId xmlns:a16="http://schemas.microsoft.com/office/drawing/2014/main" id="{B2BD604F-1259-2047-5A6A-0057E9C6F6A4}"/>
                    </a:ext>
                  </a:extLst>
                </p:cNvPr>
                <p:cNvSpPr/>
                <p:nvPr/>
              </p:nvSpPr>
              <p:spPr>
                <a:xfrm>
                  <a:off x="7562889" y="3856073"/>
                  <a:ext cx="3224400" cy="705116"/>
                </a:xfrm>
                <a:prstGeom prst="rect">
                  <a:avLst/>
                </a:prstGeom>
                <a:solidFill>
                  <a:srgbClr val="C5DE8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0000" tIns="46800" rIns="90000" bIns="468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spcBef>
                      <a:spcPts val="600"/>
                    </a:spcBef>
                  </a:pPr>
                  <a:endParaRPr lang="en-IN" dirty="0" err="1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26" name="TextBox 25">
                  <a:extLst>
                    <a:ext uri="{FF2B5EF4-FFF2-40B4-BE49-F238E27FC236}">
                      <a16:creationId xmlns:a16="http://schemas.microsoft.com/office/drawing/2014/main" id="{6357E188-0FB3-D5F8-2238-358831F174B2}"/>
                    </a:ext>
                  </a:extLst>
                </p:cNvPr>
                <p:cNvSpPr txBox="1"/>
                <p:nvPr/>
              </p:nvSpPr>
              <p:spPr>
                <a:xfrm>
                  <a:off x="8335049" y="4058539"/>
                  <a:ext cx="1884273" cy="385724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noAutofit/>
                </a:bodyPr>
                <a:lstStyle/>
                <a:p>
                  <a:pPr>
                    <a:buClr>
                      <a:srgbClr val="97C139"/>
                    </a:buClr>
                  </a:pPr>
                  <a:r>
                    <a:rPr lang="en-US" sz="1800" b="1" dirty="0"/>
                    <a:t>Wear Resistance</a:t>
                  </a:r>
                  <a:endParaRPr lang="en-IN" sz="1800" b="1" dirty="0" err="1"/>
                </a:p>
              </p:txBody>
            </p:sp>
          </p:grpSp>
        </p:grpSp>
      </p:grpSp>
      <p:sp>
        <p:nvSpPr>
          <p:cNvPr id="6" name="TextBox 5">
            <a:extLst>
              <a:ext uri="{FF2B5EF4-FFF2-40B4-BE49-F238E27FC236}">
                <a16:creationId xmlns:a16="http://schemas.microsoft.com/office/drawing/2014/main" id="{6F9F2AAD-9AA3-2C19-2094-1BBA54964A3E}"/>
              </a:ext>
            </a:extLst>
          </p:cNvPr>
          <p:cNvSpPr txBox="1"/>
          <p:nvPr/>
        </p:nvSpPr>
        <p:spPr>
          <a:xfrm>
            <a:off x="1919536" y="5623344"/>
            <a:ext cx="2376264" cy="334767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buClr>
                <a:srgbClr val="97C139"/>
              </a:buClr>
            </a:pPr>
            <a:r>
              <a:rPr lang="en-US" dirty="0"/>
              <a:t> Fig 3. Slot insulation in a stator [3]</a:t>
            </a:r>
            <a:endParaRPr lang="en-IN" dirty="0" err="1"/>
          </a:p>
        </p:txBody>
      </p:sp>
    </p:spTree>
    <p:extLst>
      <p:ext uri="{BB962C8B-B14F-4D97-AF65-F5344CB8AC3E}">
        <p14:creationId xmlns:p14="http://schemas.microsoft.com/office/powerpoint/2010/main" val="333526267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BBF25B15-4745-0D6E-2C4B-2BBE73D2649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n-US" dirty="0">
                <a:solidFill>
                  <a:srgbClr val="000000"/>
                </a:solidFill>
              </a:rPr>
              <a:t>12.11.2025</a:t>
            </a:r>
          </a:p>
          <a:p>
            <a:pPr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28B3A6A-833A-D615-0E08-17A3D46DD96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FE11F066-C7D3-4B2D-BC7E-EC0D86AF6BBF}" type="slidenum">
              <a:rPr lang="de-DE" smtClean="0">
                <a:solidFill>
                  <a:srgbClr val="000000"/>
                </a:solidFill>
              </a:rPr>
              <a:pPr>
                <a:defRPr/>
              </a:pPr>
              <a:t>7</a:t>
            </a:fld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0B73BA42-AFAB-26A6-8ECE-1C908F0E9BF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ow slot liners are inserted in large scale manufacture such as in the automotive industry:</a:t>
            </a:r>
            <a:endParaRPr lang="en-IN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3AC3930-A846-E414-A052-1D221A53368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defRPr/>
            </a:pPr>
            <a:r>
              <a:rPr lang="de-DE" dirty="0">
                <a:solidFill>
                  <a:srgbClr val="000000"/>
                </a:solidFill>
              </a:rPr>
              <a:t>Alen Sebastian – Development of a Parametric tool for Automated Slot Insulation Insertion in Small scale Electric Stator Production</a:t>
            </a:r>
          </a:p>
          <a:p>
            <a:pPr>
              <a:defRPr/>
            </a:pPr>
            <a:endParaRPr lang="de-DE" dirty="0">
              <a:solidFill>
                <a:srgbClr val="000000"/>
              </a:solidFill>
            </a:endParaRPr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id="{10F60F63-E0CF-BDBA-1498-AA3ABA347AF6}"/>
              </a:ext>
            </a:extLst>
          </p:cNvPr>
          <p:cNvGrpSpPr/>
          <p:nvPr/>
        </p:nvGrpSpPr>
        <p:grpSpPr>
          <a:xfrm>
            <a:off x="2383610" y="1124744"/>
            <a:ext cx="7424780" cy="4862071"/>
            <a:chOff x="2603836" y="1196752"/>
            <a:chExt cx="7424780" cy="4862071"/>
          </a:xfrm>
        </p:grpSpPr>
        <p:pic>
          <p:nvPicPr>
            <p:cNvPr id="8" name="Picture 7" descr="A machine on wheels with wheels&#10;&#10;AI-generated content may be incorrect.">
              <a:extLst>
                <a:ext uri="{FF2B5EF4-FFF2-40B4-BE49-F238E27FC236}">
                  <a16:creationId xmlns:a16="http://schemas.microsoft.com/office/drawing/2014/main" id="{48ADFF93-7923-6927-5068-0DE8A98E00B4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175266" y="2477779"/>
              <a:ext cx="2229290" cy="1947264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CEA5F2B4-B4FA-5E16-D585-EA28243F66ED}"/>
                </a:ext>
              </a:extLst>
            </p:cNvPr>
            <p:cNvGrpSpPr/>
            <p:nvPr/>
          </p:nvGrpSpPr>
          <p:grpSpPr>
            <a:xfrm>
              <a:off x="2603836" y="1196752"/>
              <a:ext cx="7424780" cy="4862071"/>
              <a:chOff x="2610999" y="1162870"/>
              <a:chExt cx="7424780" cy="4862071"/>
            </a:xfrm>
          </p:grpSpPr>
          <p:grpSp>
            <p:nvGrpSpPr>
              <p:cNvPr id="26" name="Group 25">
                <a:extLst>
                  <a:ext uri="{FF2B5EF4-FFF2-40B4-BE49-F238E27FC236}">
                    <a16:creationId xmlns:a16="http://schemas.microsoft.com/office/drawing/2014/main" id="{4F0A371C-6D51-2D6A-620B-806FDC084D23}"/>
                  </a:ext>
                </a:extLst>
              </p:cNvPr>
              <p:cNvGrpSpPr/>
              <p:nvPr/>
            </p:nvGrpSpPr>
            <p:grpSpPr>
              <a:xfrm>
                <a:off x="3595046" y="1162870"/>
                <a:ext cx="6440733" cy="4862071"/>
                <a:chOff x="3595046" y="1162870"/>
                <a:chExt cx="6440733" cy="4862071"/>
              </a:xfrm>
            </p:grpSpPr>
            <p:grpSp>
              <p:nvGrpSpPr>
                <p:cNvPr id="25" name="Group 24">
                  <a:extLst>
                    <a:ext uri="{FF2B5EF4-FFF2-40B4-BE49-F238E27FC236}">
                      <a16:creationId xmlns:a16="http://schemas.microsoft.com/office/drawing/2014/main" id="{DEA368AC-3BA3-D49C-F9C8-0C977ACB5E5D}"/>
                    </a:ext>
                  </a:extLst>
                </p:cNvPr>
                <p:cNvGrpSpPr/>
                <p:nvPr/>
              </p:nvGrpSpPr>
              <p:grpSpPr>
                <a:xfrm>
                  <a:off x="4170488" y="1162870"/>
                  <a:ext cx="5865291" cy="4862071"/>
                  <a:chOff x="4170488" y="1162870"/>
                  <a:chExt cx="5865291" cy="4862071"/>
                </a:xfrm>
              </p:grpSpPr>
              <p:grpSp>
                <p:nvGrpSpPr>
                  <p:cNvPr id="24" name="Group 23">
                    <a:extLst>
                      <a:ext uri="{FF2B5EF4-FFF2-40B4-BE49-F238E27FC236}">
                        <a16:creationId xmlns:a16="http://schemas.microsoft.com/office/drawing/2014/main" id="{0E5EE26F-8D58-D5F1-71A7-C9A130A8332B}"/>
                      </a:ext>
                    </a:extLst>
                  </p:cNvPr>
                  <p:cNvGrpSpPr/>
                  <p:nvPr/>
                </p:nvGrpSpPr>
                <p:grpSpPr>
                  <a:xfrm>
                    <a:off x="4170488" y="1162870"/>
                    <a:ext cx="5865291" cy="4809671"/>
                    <a:chOff x="4170488" y="1162870"/>
                    <a:chExt cx="5865291" cy="4809671"/>
                  </a:xfrm>
                </p:grpSpPr>
                <p:grpSp>
                  <p:nvGrpSpPr>
                    <p:cNvPr id="9" name="Group 8">
                      <a:extLst>
                        <a:ext uri="{FF2B5EF4-FFF2-40B4-BE49-F238E27FC236}">
                          <a16:creationId xmlns:a16="http://schemas.microsoft.com/office/drawing/2014/main" id="{2B7183B8-AD26-D802-0B3C-8FAFEC6EF948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4170488" y="1162870"/>
                      <a:ext cx="4217489" cy="4809671"/>
                      <a:chOff x="4170488" y="1162870"/>
                      <a:chExt cx="4217489" cy="4809671"/>
                    </a:xfrm>
                  </p:grpSpPr>
                  <p:sp>
                    <p:nvSpPr>
                      <p:cNvPr id="10" name="Freeform: Shape 9">
                        <a:extLst>
                          <a:ext uri="{FF2B5EF4-FFF2-40B4-BE49-F238E27FC236}">
                            <a16:creationId xmlns:a16="http://schemas.microsoft.com/office/drawing/2014/main" id="{6219A4C3-3C00-77E9-6F2E-65A92C78924F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5159896" y="1162870"/>
                        <a:ext cx="2312663" cy="1120118"/>
                      </a:xfrm>
                      <a:custGeom>
                        <a:avLst/>
                        <a:gdLst>
                          <a:gd name="connsiteX0" fmla="*/ 0 w 1624417"/>
                          <a:gd name="connsiteY0" fmla="*/ 175982 h 1055871"/>
                          <a:gd name="connsiteX1" fmla="*/ 175982 w 1624417"/>
                          <a:gd name="connsiteY1" fmla="*/ 0 h 1055871"/>
                          <a:gd name="connsiteX2" fmla="*/ 1448435 w 1624417"/>
                          <a:gd name="connsiteY2" fmla="*/ 0 h 1055871"/>
                          <a:gd name="connsiteX3" fmla="*/ 1624417 w 1624417"/>
                          <a:gd name="connsiteY3" fmla="*/ 175982 h 1055871"/>
                          <a:gd name="connsiteX4" fmla="*/ 1624417 w 1624417"/>
                          <a:gd name="connsiteY4" fmla="*/ 879889 h 1055871"/>
                          <a:gd name="connsiteX5" fmla="*/ 1448435 w 1624417"/>
                          <a:gd name="connsiteY5" fmla="*/ 1055871 h 1055871"/>
                          <a:gd name="connsiteX6" fmla="*/ 175982 w 1624417"/>
                          <a:gd name="connsiteY6" fmla="*/ 1055871 h 1055871"/>
                          <a:gd name="connsiteX7" fmla="*/ 0 w 1624417"/>
                          <a:gd name="connsiteY7" fmla="*/ 879889 h 1055871"/>
                          <a:gd name="connsiteX8" fmla="*/ 0 w 1624417"/>
                          <a:gd name="connsiteY8" fmla="*/ 175982 h 1055871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</a:cxnLst>
                        <a:rect l="l" t="t" r="r" b="b"/>
                        <a:pathLst>
                          <a:path w="1624417" h="1055871">
                            <a:moveTo>
                              <a:pt x="0" y="175982"/>
                            </a:moveTo>
                            <a:cubicBezTo>
                              <a:pt x="0" y="78790"/>
                              <a:pt x="78790" y="0"/>
                              <a:pt x="175982" y="0"/>
                            </a:cubicBezTo>
                            <a:lnTo>
                              <a:pt x="1448435" y="0"/>
                            </a:lnTo>
                            <a:cubicBezTo>
                              <a:pt x="1545627" y="0"/>
                              <a:pt x="1624417" y="78790"/>
                              <a:pt x="1624417" y="175982"/>
                            </a:cubicBezTo>
                            <a:lnTo>
                              <a:pt x="1624417" y="879889"/>
                            </a:lnTo>
                            <a:cubicBezTo>
                              <a:pt x="1624417" y="977081"/>
                              <a:pt x="1545627" y="1055871"/>
                              <a:pt x="1448435" y="1055871"/>
                            </a:cubicBezTo>
                            <a:lnTo>
                              <a:pt x="175982" y="1055871"/>
                            </a:lnTo>
                            <a:cubicBezTo>
                              <a:pt x="78790" y="1055871"/>
                              <a:pt x="0" y="977081"/>
                              <a:pt x="0" y="879889"/>
                            </a:cubicBezTo>
                            <a:lnTo>
                              <a:pt x="0" y="175982"/>
                            </a:lnTo>
                            <a:close/>
                          </a:path>
                        </a:pathLst>
                      </a:custGeom>
                    </p:spPr>
                    <p:style>
                      <a:lnRef idx="2">
                        <a:schemeClr val="lt1">
                          <a:hueOff val="0"/>
                          <a:satOff val="0"/>
                          <a:lumOff val="0"/>
                          <a:alphaOff val="0"/>
                        </a:schemeClr>
                      </a:lnRef>
                      <a:fillRef idx="1">
                        <a:schemeClr val="accent1">
                          <a:hueOff val="0"/>
                          <a:satOff val="0"/>
                          <a:lumOff val="0"/>
                          <a:alphaOff val="0"/>
                        </a:schemeClr>
                      </a:fillRef>
                      <a:effectRef idx="0">
                        <a:schemeClr val="accent1">
                          <a:hueOff val="0"/>
                          <a:satOff val="0"/>
                          <a:lumOff val="0"/>
                          <a:alphaOff val="0"/>
                        </a:schemeClr>
                      </a:effectRef>
                      <a:fontRef idx="minor">
                        <a:schemeClr val="lt1"/>
                      </a:fontRef>
                    </p:style>
                    <p:txBody>
                      <a:bodyPr spcFirstLastPara="0" vert="horz" wrap="square" lIns="203943" tIns="203943" rIns="203943" bIns="203943" numCol="1" spcCol="1270" anchor="ctr" anchorCtr="0">
                        <a:noAutofit/>
                      </a:bodyPr>
                      <a:lstStyle/>
                      <a:p>
                        <a:pPr marL="0" lvl="0" indent="0" algn="ctr" defTabSz="1778000">
                          <a:lnSpc>
                            <a:spcPct val="90000"/>
                          </a:lnSpc>
                          <a:spcBef>
                            <a:spcPct val="0"/>
                          </a:spcBef>
                          <a:spcAft>
                            <a:spcPct val="35000"/>
                          </a:spcAft>
                          <a:buNone/>
                        </a:pPr>
                        <a:r>
                          <a:rPr lang="en-US" sz="1600" b="1" kern="1200" dirty="0">
                            <a:solidFill>
                              <a:schemeClr val="tx1"/>
                            </a:solidFill>
                          </a:rPr>
                          <a:t>Large batch manufacture with constant motor size.</a:t>
                        </a:r>
                        <a:endParaRPr lang="en-IN" sz="1600" b="1" kern="1200" dirty="0">
                          <a:solidFill>
                            <a:schemeClr val="tx1"/>
                          </a:solidFill>
                        </a:endParaRPr>
                      </a:p>
                    </p:txBody>
                  </p:sp>
                  <p:sp>
                    <p:nvSpPr>
                      <p:cNvPr id="11" name="Freeform: Shape 10">
                        <a:extLst>
                          <a:ext uri="{FF2B5EF4-FFF2-40B4-BE49-F238E27FC236}">
                            <a16:creationId xmlns:a16="http://schemas.microsoft.com/office/drawing/2014/main" id="{A418C2A6-3F03-6FAC-7F6F-1EBC922A15D3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4170488" y="1755052"/>
                        <a:ext cx="4217489" cy="4217489"/>
                      </a:xfrm>
                      <a:custGeom>
                        <a:avLst/>
                        <a:gdLst/>
                        <a:ahLst/>
                        <a:cxnLst/>
                        <a:rect l="0" t="0" r="0" b="0"/>
                        <a:pathLst>
                          <a:path>
                            <a:moveTo>
                              <a:pt x="2932103" y="167382"/>
                            </a:moveTo>
                            <a:arcTo wR="2108744" hR="2108744" stAng="17578948" swAng="1960588"/>
                          </a:path>
                        </a:pathLst>
                      </a:custGeom>
                      <a:noFill/>
                    </p:spPr>
                    <p:style>
                      <a:lnRef idx="1">
                        <a:schemeClr val="accent1">
                          <a:hueOff val="0"/>
                          <a:satOff val="0"/>
                          <a:lumOff val="0"/>
                          <a:alphaOff val="0"/>
                        </a:schemeClr>
                      </a:lnRef>
                      <a:fillRef idx="0">
                        <a:scrgbClr r="0" g="0" b="0"/>
                      </a:fillRef>
                      <a:effectRef idx="0">
                        <a:schemeClr val="accent1">
                          <a:hueOff val="0"/>
                          <a:satOff val="0"/>
                          <a:lumOff val="0"/>
                          <a:alphaOff val="0"/>
                        </a:schemeClr>
                      </a:effectRef>
                      <a:fontRef idx="minor">
                        <a:schemeClr val="tx1">
                          <a:hueOff val="0"/>
                          <a:satOff val="0"/>
                          <a:lumOff val="0"/>
                          <a:alphaOff val="0"/>
                        </a:schemeClr>
                      </a:fontRef>
                    </p:style>
                    <p:txBody>
                      <a:bodyPr/>
                      <a:lstStyle/>
                      <a:p>
                        <a:endParaRPr lang="en-IN" dirty="0"/>
                      </a:p>
                    </p:txBody>
                  </p:sp>
                  <p:sp>
                    <p:nvSpPr>
                      <p:cNvPr id="13" name="Freeform: Shape 12">
                        <a:extLst>
                          <a:ext uri="{FF2B5EF4-FFF2-40B4-BE49-F238E27FC236}">
                            <a16:creationId xmlns:a16="http://schemas.microsoft.com/office/drawing/2014/main" id="{C863DD7F-D442-52C3-6FDD-C65C63AD2888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4170488" y="1755052"/>
                        <a:ext cx="4217489" cy="4217489"/>
                      </a:xfrm>
                      <a:custGeom>
                        <a:avLst/>
                        <a:gdLst/>
                        <a:ahLst/>
                        <a:cxnLst/>
                        <a:rect l="0" t="0" r="0" b="0"/>
                        <a:pathLst>
                          <a:path>
                            <a:moveTo>
                              <a:pt x="4214606" y="1998517"/>
                            </a:moveTo>
                            <a:arcTo wR="2108744" hR="2108744" stAng="21420223" swAng="2195573"/>
                          </a:path>
                        </a:pathLst>
                      </a:custGeom>
                      <a:noFill/>
                    </p:spPr>
                    <p:style>
                      <a:lnRef idx="1">
                        <a:schemeClr val="accent1">
                          <a:hueOff val="0"/>
                          <a:satOff val="0"/>
                          <a:lumOff val="0"/>
                          <a:alphaOff val="0"/>
                        </a:schemeClr>
                      </a:lnRef>
                      <a:fillRef idx="0">
                        <a:scrgbClr r="0" g="0" b="0"/>
                      </a:fillRef>
                      <a:effectRef idx="0">
                        <a:schemeClr val="accent1">
                          <a:hueOff val="0"/>
                          <a:satOff val="0"/>
                          <a:lumOff val="0"/>
                          <a:alphaOff val="0"/>
                        </a:schemeClr>
                      </a:effectRef>
                      <a:fontRef idx="minor">
                        <a:schemeClr val="tx1">
                          <a:hueOff val="0"/>
                          <a:satOff val="0"/>
                          <a:lumOff val="0"/>
                          <a:alphaOff val="0"/>
                        </a:schemeClr>
                      </a:fontRef>
                    </p:style>
                    <p:txBody>
                      <a:bodyPr/>
                      <a:lstStyle/>
                      <a:p>
                        <a:endParaRPr lang="en-IN"/>
                      </a:p>
                    </p:txBody>
                  </p:sp>
                  <p:sp>
                    <p:nvSpPr>
                      <p:cNvPr id="15" name="Freeform: Shape 14">
                        <a:extLst>
                          <a:ext uri="{FF2B5EF4-FFF2-40B4-BE49-F238E27FC236}">
                            <a16:creationId xmlns:a16="http://schemas.microsoft.com/office/drawing/2014/main" id="{328DDDB4-BD82-9291-CC8E-95612BB0FE69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4170488" y="1755052"/>
                        <a:ext cx="4217489" cy="4217489"/>
                      </a:xfrm>
                      <a:custGeom>
                        <a:avLst/>
                        <a:gdLst/>
                        <a:ahLst/>
                        <a:cxnLst/>
                        <a:rect l="0" t="0" r="0" b="0"/>
                        <a:pathLst>
                          <a:path>
                            <a:moveTo>
                              <a:pt x="2527652" y="4175461"/>
                            </a:moveTo>
                            <a:arcTo wR="2108744" hR="2108744" stAng="4712508" swAng="1374984"/>
                          </a:path>
                        </a:pathLst>
                      </a:custGeom>
                      <a:noFill/>
                    </p:spPr>
                    <p:style>
                      <a:lnRef idx="1">
                        <a:schemeClr val="accent1">
                          <a:hueOff val="0"/>
                          <a:satOff val="0"/>
                          <a:lumOff val="0"/>
                          <a:alphaOff val="0"/>
                        </a:schemeClr>
                      </a:lnRef>
                      <a:fillRef idx="0">
                        <a:scrgbClr r="0" g="0" b="0"/>
                      </a:fillRef>
                      <a:effectRef idx="0">
                        <a:schemeClr val="accent1">
                          <a:hueOff val="0"/>
                          <a:satOff val="0"/>
                          <a:lumOff val="0"/>
                          <a:alphaOff val="0"/>
                        </a:schemeClr>
                      </a:effectRef>
                      <a:fontRef idx="minor">
                        <a:schemeClr val="tx1">
                          <a:hueOff val="0"/>
                          <a:satOff val="0"/>
                          <a:lumOff val="0"/>
                          <a:alphaOff val="0"/>
                        </a:schemeClr>
                      </a:fontRef>
                    </p:style>
                    <p:txBody>
                      <a:bodyPr/>
                      <a:lstStyle/>
                      <a:p>
                        <a:endParaRPr lang="en-IN"/>
                      </a:p>
                    </p:txBody>
                  </p:sp>
                  <p:sp>
                    <p:nvSpPr>
                      <p:cNvPr id="17" name="Freeform: Shape 16">
                        <a:extLst>
                          <a:ext uri="{FF2B5EF4-FFF2-40B4-BE49-F238E27FC236}">
                            <a16:creationId xmlns:a16="http://schemas.microsoft.com/office/drawing/2014/main" id="{1F22A33C-31B1-4277-97E5-DA11E7DB5118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4170488" y="1755052"/>
                        <a:ext cx="4217489" cy="4217489"/>
                      </a:xfrm>
                      <a:custGeom>
                        <a:avLst/>
                        <a:gdLst/>
                        <a:ahLst/>
                        <a:cxnLst/>
                        <a:rect l="0" t="0" r="0" b="0"/>
                        <a:pathLst>
                          <a:path>
                            <a:moveTo>
                              <a:pt x="352256" y="3275601"/>
                            </a:moveTo>
                            <a:arcTo wR="2108744" hR="2108744" stAng="8784205" swAng="2195573"/>
                          </a:path>
                        </a:pathLst>
                      </a:custGeom>
                      <a:noFill/>
                    </p:spPr>
                    <p:style>
                      <a:lnRef idx="1">
                        <a:schemeClr val="accent1">
                          <a:hueOff val="0"/>
                          <a:satOff val="0"/>
                          <a:lumOff val="0"/>
                          <a:alphaOff val="0"/>
                        </a:schemeClr>
                      </a:lnRef>
                      <a:fillRef idx="0">
                        <a:scrgbClr r="0" g="0" b="0"/>
                      </a:fillRef>
                      <a:effectRef idx="0">
                        <a:schemeClr val="accent1">
                          <a:hueOff val="0"/>
                          <a:satOff val="0"/>
                          <a:lumOff val="0"/>
                          <a:alphaOff val="0"/>
                        </a:schemeClr>
                      </a:effectRef>
                      <a:fontRef idx="minor">
                        <a:schemeClr val="tx1">
                          <a:hueOff val="0"/>
                          <a:satOff val="0"/>
                          <a:lumOff val="0"/>
                          <a:alphaOff val="0"/>
                        </a:schemeClr>
                      </a:fontRef>
                    </p:style>
                    <p:txBody>
                      <a:bodyPr/>
                      <a:lstStyle/>
                      <a:p>
                        <a:endParaRPr lang="en-IN"/>
                      </a:p>
                    </p:txBody>
                  </p:sp>
                  <p:sp>
                    <p:nvSpPr>
                      <p:cNvPr id="19" name="Freeform: Shape 18">
                        <a:extLst>
                          <a:ext uri="{FF2B5EF4-FFF2-40B4-BE49-F238E27FC236}">
                            <a16:creationId xmlns:a16="http://schemas.microsoft.com/office/drawing/2014/main" id="{B16DF984-247D-8D1E-672D-875733C6A232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4170488" y="1755052"/>
                        <a:ext cx="4217489" cy="4217489"/>
                      </a:xfrm>
                      <a:custGeom>
                        <a:avLst/>
                        <a:gdLst/>
                        <a:ahLst/>
                        <a:cxnLst/>
                        <a:rect l="0" t="0" r="0" b="0"/>
                        <a:pathLst>
                          <a:path>
                            <a:moveTo>
                              <a:pt x="367566" y="919163"/>
                            </a:moveTo>
                            <a:arcTo wR="2108744" hR="2108744" stAng="12860464" swAng="1960588"/>
                          </a:path>
                        </a:pathLst>
                      </a:custGeom>
                      <a:noFill/>
                    </p:spPr>
                    <p:style>
                      <a:lnRef idx="1">
                        <a:schemeClr val="accent1">
                          <a:hueOff val="0"/>
                          <a:satOff val="0"/>
                          <a:lumOff val="0"/>
                          <a:alphaOff val="0"/>
                        </a:schemeClr>
                      </a:lnRef>
                      <a:fillRef idx="0">
                        <a:scrgbClr r="0" g="0" b="0"/>
                      </a:fillRef>
                      <a:effectRef idx="0">
                        <a:schemeClr val="accent1">
                          <a:hueOff val="0"/>
                          <a:satOff val="0"/>
                          <a:lumOff val="0"/>
                          <a:alphaOff val="0"/>
                        </a:schemeClr>
                      </a:effectRef>
                      <a:fontRef idx="minor">
                        <a:schemeClr val="tx1">
                          <a:hueOff val="0"/>
                          <a:satOff val="0"/>
                          <a:lumOff val="0"/>
                          <a:alphaOff val="0"/>
                        </a:schemeClr>
                      </a:fontRef>
                    </p:style>
                    <p:txBody>
                      <a:bodyPr/>
                      <a:lstStyle/>
                      <a:p>
                        <a:endParaRPr lang="en-IN"/>
                      </a:p>
                    </p:txBody>
                  </p:sp>
                </p:grpSp>
                <p:sp>
                  <p:nvSpPr>
                    <p:cNvPr id="20" name="Freeform: Shape 19">
                      <a:extLst>
                        <a:ext uri="{FF2B5EF4-FFF2-40B4-BE49-F238E27FC236}">
                          <a16:creationId xmlns:a16="http://schemas.microsoft.com/office/drawing/2014/main" id="{148DC033-B540-AF87-895D-410FC6939527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7723116" y="2680005"/>
                      <a:ext cx="2312663" cy="1055871"/>
                    </a:xfrm>
                    <a:custGeom>
                      <a:avLst/>
                      <a:gdLst>
                        <a:gd name="connsiteX0" fmla="*/ 0 w 1624417"/>
                        <a:gd name="connsiteY0" fmla="*/ 175982 h 1055871"/>
                        <a:gd name="connsiteX1" fmla="*/ 175982 w 1624417"/>
                        <a:gd name="connsiteY1" fmla="*/ 0 h 1055871"/>
                        <a:gd name="connsiteX2" fmla="*/ 1448435 w 1624417"/>
                        <a:gd name="connsiteY2" fmla="*/ 0 h 1055871"/>
                        <a:gd name="connsiteX3" fmla="*/ 1624417 w 1624417"/>
                        <a:gd name="connsiteY3" fmla="*/ 175982 h 1055871"/>
                        <a:gd name="connsiteX4" fmla="*/ 1624417 w 1624417"/>
                        <a:gd name="connsiteY4" fmla="*/ 879889 h 1055871"/>
                        <a:gd name="connsiteX5" fmla="*/ 1448435 w 1624417"/>
                        <a:gd name="connsiteY5" fmla="*/ 1055871 h 1055871"/>
                        <a:gd name="connsiteX6" fmla="*/ 175982 w 1624417"/>
                        <a:gd name="connsiteY6" fmla="*/ 1055871 h 1055871"/>
                        <a:gd name="connsiteX7" fmla="*/ 0 w 1624417"/>
                        <a:gd name="connsiteY7" fmla="*/ 879889 h 1055871"/>
                        <a:gd name="connsiteX8" fmla="*/ 0 w 1624417"/>
                        <a:gd name="connsiteY8" fmla="*/ 175982 h 1055871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1624417" h="1055871">
                          <a:moveTo>
                            <a:pt x="0" y="175982"/>
                          </a:moveTo>
                          <a:cubicBezTo>
                            <a:pt x="0" y="78790"/>
                            <a:pt x="78790" y="0"/>
                            <a:pt x="175982" y="0"/>
                          </a:cubicBezTo>
                          <a:lnTo>
                            <a:pt x="1448435" y="0"/>
                          </a:lnTo>
                          <a:cubicBezTo>
                            <a:pt x="1545627" y="0"/>
                            <a:pt x="1624417" y="78790"/>
                            <a:pt x="1624417" y="175982"/>
                          </a:cubicBezTo>
                          <a:lnTo>
                            <a:pt x="1624417" y="879889"/>
                          </a:lnTo>
                          <a:cubicBezTo>
                            <a:pt x="1624417" y="977081"/>
                            <a:pt x="1545627" y="1055871"/>
                            <a:pt x="1448435" y="1055871"/>
                          </a:cubicBezTo>
                          <a:lnTo>
                            <a:pt x="175982" y="1055871"/>
                          </a:lnTo>
                          <a:cubicBezTo>
                            <a:pt x="78790" y="1055871"/>
                            <a:pt x="0" y="977081"/>
                            <a:pt x="0" y="879889"/>
                          </a:cubicBezTo>
                          <a:lnTo>
                            <a:pt x="0" y="175982"/>
                          </a:lnTo>
                          <a:close/>
                        </a:path>
                      </a:pathLst>
                    </a:custGeom>
                    <a:solidFill>
                      <a:srgbClr val="C5DE89"/>
                    </a:solidFill>
                  </p:spPr>
                  <p:style>
                    <a:lnRef idx="2">
                      <a:schemeClr val="lt1">
                        <a:hueOff val="0"/>
                        <a:satOff val="0"/>
                        <a:lumOff val="0"/>
                        <a:alphaOff val="0"/>
                      </a:schemeClr>
                    </a:lnRef>
                    <a:fillRef idx="1">
                      <a:schemeClr val="accent1">
                        <a:hueOff val="0"/>
                        <a:satOff val="0"/>
                        <a:lumOff val="0"/>
                        <a:alphaOff val="0"/>
                      </a:schemeClr>
                    </a:fillRef>
                    <a:effectRef idx="0">
                      <a:schemeClr val="accent1">
                        <a:hueOff val="0"/>
                        <a:satOff val="0"/>
                        <a:lumOff val="0"/>
                        <a:alphaOff val="0"/>
                      </a:schemeClr>
                    </a:effectRef>
                    <a:fontRef idx="minor">
                      <a:schemeClr val="lt1"/>
                    </a:fontRef>
                  </p:style>
                  <p:txBody>
                    <a:bodyPr spcFirstLastPara="0" vert="horz" wrap="square" lIns="203943" tIns="203943" rIns="203943" bIns="203943" numCol="1" spcCol="1270" anchor="ctr" anchorCtr="0">
                      <a:noAutofit/>
                    </a:bodyPr>
                    <a:lstStyle/>
                    <a:p>
                      <a:pPr marL="0" lvl="0" indent="0" algn="ctr" defTabSz="1778000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35000"/>
                        </a:spcAft>
                        <a:buNone/>
                      </a:pPr>
                      <a:r>
                        <a:rPr lang="en-US" sz="1600" b="1" kern="1200" dirty="0">
                          <a:solidFill>
                            <a:schemeClr val="tx1"/>
                          </a:solidFill>
                        </a:rPr>
                        <a:t>High speed insertion (3 sleeves per second).</a:t>
                      </a:r>
                      <a:endParaRPr lang="en-IN" sz="1600" b="1" kern="1200" dirty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  <p:sp>
                <p:nvSpPr>
                  <p:cNvPr id="21" name="Freeform: Shape 20">
                    <a:extLst>
                      <a:ext uri="{FF2B5EF4-FFF2-40B4-BE49-F238E27FC236}">
                        <a16:creationId xmlns:a16="http://schemas.microsoft.com/office/drawing/2014/main" id="{3E84ECB0-9BE7-B2A2-FD16-B4B389F75E0A}"/>
                      </a:ext>
                    </a:extLst>
                  </p:cNvPr>
                  <p:cNvSpPr/>
                  <p:nvPr/>
                </p:nvSpPr>
                <p:spPr>
                  <a:xfrm>
                    <a:off x="6650756" y="4969070"/>
                    <a:ext cx="2312663" cy="1055871"/>
                  </a:xfrm>
                  <a:custGeom>
                    <a:avLst/>
                    <a:gdLst>
                      <a:gd name="connsiteX0" fmla="*/ 0 w 1624417"/>
                      <a:gd name="connsiteY0" fmla="*/ 175982 h 1055871"/>
                      <a:gd name="connsiteX1" fmla="*/ 175982 w 1624417"/>
                      <a:gd name="connsiteY1" fmla="*/ 0 h 1055871"/>
                      <a:gd name="connsiteX2" fmla="*/ 1448435 w 1624417"/>
                      <a:gd name="connsiteY2" fmla="*/ 0 h 1055871"/>
                      <a:gd name="connsiteX3" fmla="*/ 1624417 w 1624417"/>
                      <a:gd name="connsiteY3" fmla="*/ 175982 h 1055871"/>
                      <a:gd name="connsiteX4" fmla="*/ 1624417 w 1624417"/>
                      <a:gd name="connsiteY4" fmla="*/ 879889 h 1055871"/>
                      <a:gd name="connsiteX5" fmla="*/ 1448435 w 1624417"/>
                      <a:gd name="connsiteY5" fmla="*/ 1055871 h 1055871"/>
                      <a:gd name="connsiteX6" fmla="*/ 175982 w 1624417"/>
                      <a:gd name="connsiteY6" fmla="*/ 1055871 h 1055871"/>
                      <a:gd name="connsiteX7" fmla="*/ 0 w 1624417"/>
                      <a:gd name="connsiteY7" fmla="*/ 879889 h 1055871"/>
                      <a:gd name="connsiteX8" fmla="*/ 0 w 1624417"/>
                      <a:gd name="connsiteY8" fmla="*/ 175982 h 105587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1624417" h="1055871">
                        <a:moveTo>
                          <a:pt x="0" y="175982"/>
                        </a:moveTo>
                        <a:cubicBezTo>
                          <a:pt x="0" y="78790"/>
                          <a:pt x="78790" y="0"/>
                          <a:pt x="175982" y="0"/>
                        </a:cubicBezTo>
                        <a:lnTo>
                          <a:pt x="1448435" y="0"/>
                        </a:lnTo>
                        <a:cubicBezTo>
                          <a:pt x="1545627" y="0"/>
                          <a:pt x="1624417" y="78790"/>
                          <a:pt x="1624417" y="175982"/>
                        </a:cubicBezTo>
                        <a:lnTo>
                          <a:pt x="1624417" y="879889"/>
                        </a:lnTo>
                        <a:cubicBezTo>
                          <a:pt x="1624417" y="977081"/>
                          <a:pt x="1545627" y="1055871"/>
                          <a:pt x="1448435" y="1055871"/>
                        </a:cubicBezTo>
                        <a:lnTo>
                          <a:pt x="175982" y="1055871"/>
                        </a:lnTo>
                        <a:cubicBezTo>
                          <a:pt x="78790" y="1055871"/>
                          <a:pt x="0" y="977081"/>
                          <a:pt x="0" y="879889"/>
                        </a:cubicBezTo>
                        <a:lnTo>
                          <a:pt x="0" y="175982"/>
                        </a:lnTo>
                        <a:close/>
                      </a:path>
                    </a:pathLst>
                  </a:custGeom>
                  <a:solidFill>
                    <a:srgbClr val="C5DE89"/>
                  </a:solidFill>
                </p:spPr>
                <p:style>
                  <a:lnRef idx="2">
                    <a:schemeClr val="lt1">
                      <a:hueOff val="0"/>
                      <a:satOff val="0"/>
                      <a:lumOff val="0"/>
                      <a:alphaOff val="0"/>
                    </a:schemeClr>
                  </a:lnRef>
                  <a:fillRef idx="1">
                    <a:schemeClr val="accent1">
                      <a:hueOff val="0"/>
                      <a:satOff val="0"/>
                      <a:lumOff val="0"/>
                      <a:alphaOff val="0"/>
                    </a:schemeClr>
                  </a:fillRef>
                  <a:effectRef idx="0">
                    <a:schemeClr val="accent1">
                      <a:hueOff val="0"/>
                      <a:satOff val="0"/>
                      <a:lumOff val="0"/>
                      <a:alphaOff val="0"/>
                    </a:schemeClr>
                  </a:effectRef>
                  <a:fontRef idx="minor">
                    <a:schemeClr val="lt1"/>
                  </a:fontRef>
                </p:style>
                <p:txBody>
                  <a:bodyPr spcFirstLastPara="0" vert="horz" wrap="square" lIns="203943" tIns="203943" rIns="203943" bIns="203943" numCol="1" spcCol="1270" anchor="ctr" anchorCtr="0">
                    <a:noAutofit/>
                  </a:bodyPr>
                  <a:lstStyle/>
                  <a:p>
                    <a:pPr marL="0" lvl="0" indent="0" algn="ctr" defTabSz="1778000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35000"/>
                      </a:spcAft>
                      <a:buNone/>
                    </a:pPr>
                    <a:r>
                      <a:rPr lang="en-US" sz="1600" b="1" kern="1200" dirty="0">
                        <a:solidFill>
                          <a:schemeClr val="tx1"/>
                        </a:solidFill>
                      </a:rPr>
                      <a:t>Integrated cutting, folding and creasing.</a:t>
                    </a:r>
                    <a:endParaRPr lang="en-IN" sz="1600" b="1" kern="1200" dirty="0">
                      <a:solidFill>
                        <a:schemeClr val="tx1"/>
                      </a:solidFill>
                    </a:endParaRPr>
                  </a:p>
                </p:txBody>
              </p:sp>
            </p:grpSp>
            <p:sp>
              <p:nvSpPr>
                <p:cNvPr id="22" name="Freeform: Shape 21">
                  <a:extLst>
                    <a:ext uri="{FF2B5EF4-FFF2-40B4-BE49-F238E27FC236}">
                      <a16:creationId xmlns:a16="http://schemas.microsoft.com/office/drawing/2014/main" id="{B9D6F2AE-339D-A6FD-E985-8192FAE450A4}"/>
                    </a:ext>
                  </a:extLst>
                </p:cNvPr>
                <p:cNvSpPr/>
                <p:nvPr/>
              </p:nvSpPr>
              <p:spPr>
                <a:xfrm>
                  <a:off x="3595046" y="4969070"/>
                  <a:ext cx="2312663" cy="1055871"/>
                </a:xfrm>
                <a:custGeom>
                  <a:avLst/>
                  <a:gdLst>
                    <a:gd name="connsiteX0" fmla="*/ 0 w 1624417"/>
                    <a:gd name="connsiteY0" fmla="*/ 175982 h 1055871"/>
                    <a:gd name="connsiteX1" fmla="*/ 175982 w 1624417"/>
                    <a:gd name="connsiteY1" fmla="*/ 0 h 1055871"/>
                    <a:gd name="connsiteX2" fmla="*/ 1448435 w 1624417"/>
                    <a:gd name="connsiteY2" fmla="*/ 0 h 1055871"/>
                    <a:gd name="connsiteX3" fmla="*/ 1624417 w 1624417"/>
                    <a:gd name="connsiteY3" fmla="*/ 175982 h 1055871"/>
                    <a:gd name="connsiteX4" fmla="*/ 1624417 w 1624417"/>
                    <a:gd name="connsiteY4" fmla="*/ 879889 h 1055871"/>
                    <a:gd name="connsiteX5" fmla="*/ 1448435 w 1624417"/>
                    <a:gd name="connsiteY5" fmla="*/ 1055871 h 1055871"/>
                    <a:gd name="connsiteX6" fmla="*/ 175982 w 1624417"/>
                    <a:gd name="connsiteY6" fmla="*/ 1055871 h 1055871"/>
                    <a:gd name="connsiteX7" fmla="*/ 0 w 1624417"/>
                    <a:gd name="connsiteY7" fmla="*/ 879889 h 1055871"/>
                    <a:gd name="connsiteX8" fmla="*/ 0 w 1624417"/>
                    <a:gd name="connsiteY8" fmla="*/ 175982 h 10558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1624417" h="1055871">
                      <a:moveTo>
                        <a:pt x="0" y="175982"/>
                      </a:moveTo>
                      <a:cubicBezTo>
                        <a:pt x="0" y="78790"/>
                        <a:pt x="78790" y="0"/>
                        <a:pt x="175982" y="0"/>
                      </a:cubicBezTo>
                      <a:lnTo>
                        <a:pt x="1448435" y="0"/>
                      </a:lnTo>
                      <a:cubicBezTo>
                        <a:pt x="1545627" y="0"/>
                        <a:pt x="1624417" y="78790"/>
                        <a:pt x="1624417" y="175982"/>
                      </a:cubicBezTo>
                      <a:lnTo>
                        <a:pt x="1624417" y="879889"/>
                      </a:lnTo>
                      <a:cubicBezTo>
                        <a:pt x="1624417" y="977081"/>
                        <a:pt x="1545627" y="1055871"/>
                        <a:pt x="1448435" y="1055871"/>
                      </a:cubicBezTo>
                      <a:lnTo>
                        <a:pt x="175982" y="1055871"/>
                      </a:lnTo>
                      <a:cubicBezTo>
                        <a:pt x="78790" y="1055871"/>
                        <a:pt x="0" y="977081"/>
                        <a:pt x="0" y="879889"/>
                      </a:cubicBezTo>
                      <a:lnTo>
                        <a:pt x="0" y="175982"/>
                      </a:lnTo>
                      <a:close/>
                    </a:path>
                  </a:pathLst>
                </a:custGeom>
                <a:solidFill>
                  <a:srgbClr val="C5DE89"/>
                </a:solidFill>
              </p:spPr>
              <p:style>
                <a:lnRef idx="2">
                  <a:schemeClr val="lt1">
                    <a:hueOff val="0"/>
                    <a:satOff val="0"/>
                    <a:lumOff val="0"/>
                    <a:alphaOff val="0"/>
                  </a:schemeClr>
                </a:lnRef>
                <a:fillRef idx="1">
                  <a:schemeClr val="accent1">
                    <a:hueOff val="0"/>
                    <a:satOff val="0"/>
                    <a:lumOff val="0"/>
                    <a:alphaOff val="0"/>
                  </a:schemeClr>
                </a:fillRef>
                <a:effectRef idx="0">
                  <a:schemeClr val="accent1"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lt1"/>
                </a:fontRef>
              </p:style>
              <p:txBody>
                <a:bodyPr spcFirstLastPara="0" vert="horz" wrap="square" lIns="203943" tIns="203943" rIns="203943" bIns="203943" numCol="1" spcCol="1270" anchor="ctr" anchorCtr="0">
                  <a:noAutofit/>
                </a:bodyPr>
                <a:lstStyle/>
                <a:p>
                  <a:pPr marL="0" lvl="0" indent="0" algn="ctr" defTabSz="1778000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35000"/>
                    </a:spcAft>
                    <a:buNone/>
                  </a:pPr>
                  <a:r>
                    <a:rPr lang="en-US" sz="1600" b="1" dirty="0">
                      <a:solidFill>
                        <a:schemeClr val="tx1"/>
                      </a:solidFill>
                    </a:rPr>
                    <a:t>Not suitable for high variance, low volume production.</a:t>
                  </a:r>
                  <a:endParaRPr lang="en-IN" sz="1600" b="1" kern="1200" dirty="0">
                    <a:solidFill>
                      <a:schemeClr val="tx1"/>
                    </a:solidFill>
                  </a:endParaRPr>
                </a:p>
              </p:txBody>
            </p:sp>
          </p:grpSp>
          <p:sp>
            <p:nvSpPr>
              <p:cNvPr id="23" name="Freeform: Shape 22">
                <a:extLst>
                  <a:ext uri="{FF2B5EF4-FFF2-40B4-BE49-F238E27FC236}">
                    <a16:creationId xmlns:a16="http://schemas.microsoft.com/office/drawing/2014/main" id="{1E5B5835-2417-12CB-5AEB-EAF6ECD01E43}"/>
                  </a:ext>
                </a:extLst>
              </p:cNvPr>
              <p:cNvSpPr/>
              <p:nvPr/>
            </p:nvSpPr>
            <p:spPr>
              <a:xfrm>
                <a:off x="2610999" y="2664589"/>
                <a:ext cx="2312663" cy="1055871"/>
              </a:xfrm>
              <a:custGeom>
                <a:avLst/>
                <a:gdLst>
                  <a:gd name="connsiteX0" fmla="*/ 0 w 1624417"/>
                  <a:gd name="connsiteY0" fmla="*/ 175982 h 1055871"/>
                  <a:gd name="connsiteX1" fmla="*/ 175982 w 1624417"/>
                  <a:gd name="connsiteY1" fmla="*/ 0 h 1055871"/>
                  <a:gd name="connsiteX2" fmla="*/ 1448435 w 1624417"/>
                  <a:gd name="connsiteY2" fmla="*/ 0 h 1055871"/>
                  <a:gd name="connsiteX3" fmla="*/ 1624417 w 1624417"/>
                  <a:gd name="connsiteY3" fmla="*/ 175982 h 1055871"/>
                  <a:gd name="connsiteX4" fmla="*/ 1624417 w 1624417"/>
                  <a:gd name="connsiteY4" fmla="*/ 879889 h 1055871"/>
                  <a:gd name="connsiteX5" fmla="*/ 1448435 w 1624417"/>
                  <a:gd name="connsiteY5" fmla="*/ 1055871 h 1055871"/>
                  <a:gd name="connsiteX6" fmla="*/ 175982 w 1624417"/>
                  <a:gd name="connsiteY6" fmla="*/ 1055871 h 1055871"/>
                  <a:gd name="connsiteX7" fmla="*/ 0 w 1624417"/>
                  <a:gd name="connsiteY7" fmla="*/ 879889 h 1055871"/>
                  <a:gd name="connsiteX8" fmla="*/ 0 w 1624417"/>
                  <a:gd name="connsiteY8" fmla="*/ 175982 h 10558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624417" h="1055871">
                    <a:moveTo>
                      <a:pt x="0" y="175982"/>
                    </a:moveTo>
                    <a:cubicBezTo>
                      <a:pt x="0" y="78790"/>
                      <a:pt x="78790" y="0"/>
                      <a:pt x="175982" y="0"/>
                    </a:cubicBezTo>
                    <a:lnTo>
                      <a:pt x="1448435" y="0"/>
                    </a:lnTo>
                    <a:cubicBezTo>
                      <a:pt x="1545627" y="0"/>
                      <a:pt x="1624417" y="78790"/>
                      <a:pt x="1624417" y="175982"/>
                    </a:cubicBezTo>
                    <a:lnTo>
                      <a:pt x="1624417" y="879889"/>
                    </a:lnTo>
                    <a:cubicBezTo>
                      <a:pt x="1624417" y="977081"/>
                      <a:pt x="1545627" y="1055871"/>
                      <a:pt x="1448435" y="1055871"/>
                    </a:cubicBezTo>
                    <a:lnTo>
                      <a:pt x="175982" y="1055871"/>
                    </a:lnTo>
                    <a:cubicBezTo>
                      <a:pt x="78790" y="1055871"/>
                      <a:pt x="0" y="977081"/>
                      <a:pt x="0" y="879889"/>
                    </a:cubicBezTo>
                    <a:lnTo>
                      <a:pt x="0" y="175982"/>
                    </a:lnTo>
                    <a:close/>
                  </a:path>
                </a:pathLst>
              </a:custGeom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1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  <p:txBody>
              <a:bodyPr spcFirstLastPara="0" vert="horz" wrap="square" lIns="203943" tIns="203943" rIns="203943" bIns="203943" numCol="1" spcCol="1270" anchor="ctr" anchorCtr="0">
                <a:noAutofit/>
              </a:bodyPr>
              <a:lstStyle/>
              <a:p>
                <a:pPr marL="0" lvl="0" indent="0" algn="ctr" defTabSz="177800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  <a:buNone/>
                </a:pPr>
                <a:r>
                  <a:rPr lang="en-US" sz="1600" b="1" dirty="0">
                    <a:solidFill>
                      <a:schemeClr val="tx1"/>
                    </a:solidFill>
                  </a:rPr>
                  <a:t>High Investment costs.</a:t>
                </a:r>
                <a:endParaRPr lang="en-IN" sz="1600" b="1" kern="1200" dirty="0">
                  <a:solidFill>
                    <a:schemeClr val="tx1"/>
                  </a:solidFill>
                </a:endParaRPr>
              </a:p>
            </p:txBody>
          </p:sp>
        </p:grpSp>
      </p:grpSp>
      <p:sp>
        <p:nvSpPr>
          <p:cNvPr id="6" name="TextBox 5">
            <a:extLst>
              <a:ext uri="{FF2B5EF4-FFF2-40B4-BE49-F238E27FC236}">
                <a16:creationId xmlns:a16="http://schemas.microsoft.com/office/drawing/2014/main" id="{475B617E-85E8-EEB1-09C6-F96B45508412}"/>
              </a:ext>
            </a:extLst>
          </p:cNvPr>
          <p:cNvSpPr txBox="1"/>
          <p:nvPr/>
        </p:nvSpPr>
        <p:spPr>
          <a:xfrm>
            <a:off x="4289677" y="4429735"/>
            <a:ext cx="3612645" cy="37210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buClr>
                <a:srgbClr val="97C139"/>
              </a:buClr>
            </a:pPr>
            <a:r>
              <a:rPr lang="de-DE" sz="1200" dirty="0"/>
              <a:t>. Fig 4. GMW CS-5E Horizontal Slot Cell Inserter [4]</a:t>
            </a:r>
            <a:endParaRPr lang="en-IN" sz="1200" dirty="0" err="1"/>
          </a:p>
        </p:txBody>
      </p:sp>
    </p:spTree>
    <p:extLst>
      <p:ext uri="{BB962C8B-B14F-4D97-AF65-F5344CB8AC3E}">
        <p14:creationId xmlns:p14="http://schemas.microsoft.com/office/powerpoint/2010/main" val="105232052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ACA851FB-3982-882E-7DC2-B1EFA712C4E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n-US" dirty="0">
                <a:solidFill>
                  <a:srgbClr val="000000"/>
                </a:solidFill>
              </a:rPr>
              <a:t>12.11.2025</a:t>
            </a:r>
          </a:p>
          <a:p>
            <a:pPr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5B1BDCF-3FD1-CCC3-F0B9-E66E078D03E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FE11F066-C7D3-4B2D-BC7E-EC0D86AF6BBF}" type="slidenum">
              <a:rPr lang="de-DE" smtClean="0">
                <a:solidFill>
                  <a:srgbClr val="000000"/>
                </a:solidFill>
              </a:rPr>
              <a:pPr>
                <a:defRPr/>
              </a:pPr>
              <a:t>8</a:t>
            </a:fld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24D2CEA7-48D3-F580-613B-7AC31EC2D1C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ow slot liners are inserted in small scale manufacture such as in aviation or naval industries:</a:t>
            </a:r>
            <a:endParaRPr lang="en-IN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76BF299-4C6E-1953-38C1-3F4F8ACDC77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defRPr/>
            </a:pPr>
            <a:r>
              <a:rPr lang="de-DE" dirty="0">
                <a:solidFill>
                  <a:srgbClr val="000000"/>
                </a:solidFill>
              </a:rPr>
              <a:t>Alen Sebastian – Development of a Parametric tool for Automated Slot Insulation Insertion in Small scale Electric Stator Production</a:t>
            </a:r>
          </a:p>
          <a:p>
            <a:pPr>
              <a:defRPr/>
            </a:pPr>
            <a:endParaRPr lang="de-DE" dirty="0">
              <a:solidFill>
                <a:srgbClr val="000000"/>
              </a:solidFill>
            </a:endParaRPr>
          </a:p>
        </p:txBody>
      </p:sp>
      <p:grpSp>
        <p:nvGrpSpPr>
          <p:cNvPr id="55" name="Group 54">
            <a:extLst>
              <a:ext uri="{FF2B5EF4-FFF2-40B4-BE49-F238E27FC236}">
                <a16:creationId xmlns:a16="http://schemas.microsoft.com/office/drawing/2014/main" id="{0AB45F50-8452-7AF1-7782-E2CD374D7ACA}"/>
              </a:ext>
            </a:extLst>
          </p:cNvPr>
          <p:cNvGrpSpPr/>
          <p:nvPr/>
        </p:nvGrpSpPr>
        <p:grpSpPr>
          <a:xfrm>
            <a:off x="2451207" y="846426"/>
            <a:ext cx="7383421" cy="5199890"/>
            <a:chOff x="2451206" y="764704"/>
            <a:chExt cx="7383421" cy="5199890"/>
          </a:xfrm>
        </p:grpSpPr>
        <p:pic>
          <p:nvPicPr>
            <p:cNvPr id="44" name="Picture 43" descr="Hands wearing blue gloves holding a piece of metal&#10;&#10;AI-generated content may be incorrect.">
              <a:extLst>
                <a:ext uri="{FF2B5EF4-FFF2-40B4-BE49-F238E27FC236}">
                  <a16:creationId xmlns:a16="http://schemas.microsoft.com/office/drawing/2014/main" id="{46769A24-F80E-CF10-1871-392EE8599243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5071810" y="2270218"/>
              <a:ext cx="2016224" cy="2184333"/>
            </a:xfrm>
            <a:prstGeom prst="rect">
              <a:avLst/>
            </a:prstGeom>
          </p:spPr>
        </p:pic>
        <p:grpSp>
          <p:nvGrpSpPr>
            <p:cNvPr id="54" name="Group 53">
              <a:extLst>
                <a:ext uri="{FF2B5EF4-FFF2-40B4-BE49-F238E27FC236}">
                  <a16:creationId xmlns:a16="http://schemas.microsoft.com/office/drawing/2014/main" id="{F94BF13A-507E-AB01-4A8E-0165FEDC709F}"/>
                </a:ext>
              </a:extLst>
            </p:cNvPr>
            <p:cNvGrpSpPr/>
            <p:nvPr/>
          </p:nvGrpSpPr>
          <p:grpSpPr>
            <a:xfrm>
              <a:off x="2451206" y="764704"/>
              <a:ext cx="7383421" cy="5199890"/>
              <a:chOff x="2451207" y="771699"/>
              <a:chExt cx="7383421" cy="5199890"/>
            </a:xfrm>
          </p:grpSpPr>
          <p:grpSp>
            <p:nvGrpSpPr>
              <p:cNvPr id="53" name="Group 52">
                <a:extLst>
                  <a:ext uri="{FF2B5EF4-FFF2-40B4-BE49-F238E27FC236}">
                    <a16:creationId xmlns:a16="http://schemas.microsoft.com/office/drawing/2014/main" id="{B6403B1B-9000-D815-6B8A-850D16D9B868}"/>
                  </a:ext>
                </a:extLst>
              </p:cNvPr>
              <p:cNvGrpSpPr/>
              <p:nvPr/>
            </p:nvGrpSpPr>
            <p:grpSpPr>
              <a:xfrm>
                <a:off x="3445498" y="771699"/>
                <a:ext cx="6389130" cy="5199890"/>
                <a:chOff x="3445498" y="771699"/>
                <a:chExt cx="6389130" cy="5199890"/>
              </a:xfrm>
            </p:grpSpPr>
            <p:grpSp>
              <p:nvGrpSpPr>
                <p:cNvPr id="52" name="Group 51">
                  <a:extLst>
                    <a:ext uri="{FF2B5EF4-FFF2-40B4-BE49-F238E27FC236}">
                      <a16:creationId xmlns:a16="http://schemas.microsoft.com/office/drawing/2014/main" id="{013E14CA-A149-1D19-45F3-C31CA73620F1}"/>
                    </a:ext>
                  </a:extLst>
                </p:cNvPr>
                <p:cNvGrpSpPr/>
                <p:nvPr/>
              </p:nvGrpSpPr>
              <p:grpSpPr>
                <a:xfrm>
                  <a:off x="3767260" y="771699"/>
                  <a:ext cx="6067368" cy="5199890"/>
                  <a:chOff x="3767260" y="771699"/>
                  <a:chExt cx="6067368" cy="5199890"/>
                </a:xfrm>
              </p:grpSpPr>
              <p:grpSp>
                <p:nvGrpSpPr>
                  <p:cNvPr id="51" name="Group 50">
                    <a:extLst>
                      <a:ext uri="{FF2B5EF4-FFF2-40B4-BE49-F238E27FC236}">
                        <a16:creationId xmlns:a16="http://schemas.microsoft.com/office/drawing/2014/main" id="{F59B17BA-33E0-E81D-213E-99EB4C113C7E}"/>
                      </a:ext>
                    </a:extLst>
                  </p:cNvPr>
                  <p:cNvGrpSpPr/>
                  <p:nvPr/>
                </p:nvGrpSpPr>
                <p:grpSpPr>
                  <a:xfrm>
                    <a:off x="3767260" y="771699"/>
                    <a:ext cx="6067368" cy="5149874"/>
                    <a:chOff x="3767260" y="771699"/>
                    <a:chExt cx="6067368" cy="5149874"/>
                  </a:xfrm>
                </p:grpSpPr>
                <p:grpSp>
                  <p:nvGrpSpPr>
                    <p:cNvPr id="50" name="Group 49">
                      <a:extLst>
                        <a:ext uri="{FF2B5EF4-FFF2-40B4-BE49-F238E27FC236}">
                          <a16:creationId xmlns:a16="http://schemas.microsoft.com/office/drawing/2014/main" id="{09128208-5E7B-76E2-C911-24B9AC7E9A7C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3767260" y="771699"/>
                      <a:ext cx="4993035" cy="5149874"/>
                      <a:chOff x="3767260" y="771699"/>
                      <a:chExt cx="4993035" cy="5149874"/>
                    </a:xfrm>
                  </p:grpSpPr>
                  <p:grpSp>
                    <p:nvGrpSpPr>
                      <p:cNvPr id="32" name="Group 31">
                        <a:extLst>
                          <a:ext uri="{FF2B5EF4-FFF2-40B4-BE49-F238E27FC236}">
                            <a16:creationId xmlns:a16="http://schemas.microsoft.com/office/drawing/2014/main" id="{66F192D0-6C2D-01F6-9E76-335323943AE2}"/>
                          </a:ext>
                        </a:extLst>
                      </p:cNvPr>
                      <p:cNvGrpSpPr/>
                      <p:nvPr/>
                    </p:nvGrpSpPr>
                    <p:grpSpPr>
                      <a:xfrm>
                        <a:off x="3767260" y="1301321"/>
                        <a:ext cx="4993035" cy="4620252"/>
                        <a:chOff x="3785873" y="1301321"/>
                        <a:chExt cx="4620252" cy="4620252"/>
                      </a:xfrm>
                    </p:grpSpPr>
                    <p:sp>
                      <p:nvSpPr>
                        <p:cNvPr id="34" name="Freeform: Shape 33">
                          <a:extLst>
                            <a:ext uri="{FF2B5EF4-FFF2-40B4-BE49-F238E27FC236}">
                              <a16:creationId xmlns:a16="http://schemas.microsoft.com/office/drawing/2014/main" id="{EC83C5B7-A906-A104-505A-0B8F524EAC0F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3785873" y="1301321"/>
                          <a:ext cx="4620252" cy="4620252"/>
                        </a:xfrm>
                        <a:custGeom>
                          <a:avLst/>
                          <a:gdLst/>
                          <a:ahLst/>
                          <a:cxnLst/>
                          <a:rect l="0" t="0" r="0" b="0"/>
                          <a:pathLst>
                            <a:path>
                              <a:moveTo>
                                <a:pt x="3212328" y="183458"/>
                              </a:moveTo>
                              <a:arcTo wR="2310126" hR="2310126" stAng="17579295" swAng="1959991"/>
                            </a:path>
                          </a:pathLst>
                        </a:custGeom>
                        <a:noFill/>
                      </p:spPr>
                      <p:style>
                        <a:lnRef idx="1">
                          <a:schemeClr val="accent1">
                            <a:hueOff val="0"/>
                            <a:satOff val="0"/>
                            <a:lumOff val="0"/>
                            <a:alphaOff val="0"/>
                          </a:schemeClr>
                        </a:lnRef>
                        <a:fillRef idx="0">
                          <a:scrgbClr r="0" g="0" b="0"/>
                        </a:fillRef>
                        <a:effectRef idx="0">
                          <a:schemeClr val="accent1">
                            <a:hueOff val="0"/>
                            <a:satOff val="0"/>
                            <a:lumOff val="0"/>
                            <a:alphaOff val="0"/>
                          </a:schemeClr>
                        </a:effectRef>
                        <a:fontRef idx="minor">
                          <a:schemeClr val="tx1">
                            <a:hueOff val="0"/>
                            <a:satOff val="0"/>
                            <a:lumOff val="0"/>
                            <a:alphaOff val="0"/>
                          </a:schemeClr>
                        </a:fontRef>
                      </p:style>
                      <p:txBody>
                        <a:bodyPr/>
                        <a:lstStyle/>
                        <a:p>
                          <a:endParaRPr lang="en-IN"/>
                        </a:p>
                      </p:txBody>
                    </p:sp>
                    <p:sp>
                      <p:nvSpPr>
                        <p:cNvPr id="36" name="Freeform: Shape 35">
                          <a:extLst>
                            <a:ext uri="{FF2B5EF4-FFF2-40B4-BE49-F238E27FC236}">
                              <a16:creationId xmlns:a16="http://schemas.microsoft.com/office/drawing/2014/main" id="{5815A3ED-2261-6287-F655-17A2758CE60A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3785873" y="1301321"/>
                          <a:ext cx="4620252" cy="4620252"/>
                        </a:xfrm>
                        <a:custGeom>
                          <a:avLst/>
                          <a:gdLst/>
                          <a:ahLst/>
                          <a:cxnLst/>
                          <a:rect l="0" t="0" r="0" b="0"/>
                          <a:pathLst>
                            <a:path>
                              <a:moveTo>
                                <a:pt x="4617101" y="2189512"/>
                              </a:moveTo>
                              <a:arcTo wR="2310126" hR="2310126" stAng="21420430" swAng="2195114"/>
                            </a:path>
                          </a:pathLst>
                        </a:custGeom>
                        <a:noFill/>
                      </p:spPr>
                      <p:style>
                        <a:lnRef idx="1">
                          <a:schemeClr val="accent1">
                            <a:hueOff val="0"/>
                            <a:satOff val="0"/>
                            <a:lumOff val="0"/>
                            <a:alphaOff val="0"/>
                          </a:schemeClr>
                        </a:lnRef>
                        <a:fillRef idx="0">
                          <a:scrgbClr r="0" g="0" b="0"/>
                        </a:fillRef>
                        <a:effectRef idx="0">
                          <a:schemeClr val="accent1">
                            <a:hueOff val="0"/>
                            <a:satOff val="0"/>
                            <a:lumOff val="0"/>
                            <a:alphaOff val="0"/>
                          </a:schemeClr>
                        </a:effectRef>
                        <a:fontRef idx="minor">
                          <a:schemeClr val="tx1">
                            <a:hueOff val="0"/>
                            <a:satOff val="0"/>
                            <a:lumOff val="0"/>
                            <a:alphaOff val="0"/>
                          </a:schemeClr>
                        </a:fontRef>
                      </p:style>
                      <p:txBody>
                        <a:bodyPr/>
                        <a:lstStyle/>
                        <a:p>
                          <a:endParaRPr lang="en-IN" dirty="0"/>
                        </a:p>
                      </p:txBody>
                    </p:sp>
                    <p:sp>
                      <p:nvSpPr>
                        <p:cNvPr id="38" name="Freeform: Shape 37">
                          <a:extLst>
                            <a:ext uri="{FF2B5EF4-FFF2-40B4-BE49-F238E27FC236}">
                              <a16:creationId xmlns:a16="http://schemas.microsoft.com/office/drawing/2014/main" id="{F8DF81F9-FC0F-55EC-F7FD-5A76518C8191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3785873" y="1301321"/>
                          <a:ext cx="4620252" cy="4620252"/>
                        </a:xfrm>
                        <a:custGeom>
                          <a:avLst/>
                          <a:gdLst/>
                          <a:ahLst/>
                          <a:cxnLst/>
                          <a:rect l="0" t="0" r="0" b="0"/>
                          <a:pathLst>
                            <a:path>
                              <a:moveTo>
                                <a:pt x="2768824" y="4574254"/>
                              </a:moveTo>
                              <a:arcTo wR="2310126" hR="2310126" stAng="4712834" swAng="1374332"/>
                            </a:path>
                          </a:pathLst>
                        </a:custGeom>
                        <a:noFill/>
                      </p:spPr>
                      <p:style>
                        <a:lnRef idx="1">
                          <a:schemeClr val="accent1">
                            <a:hueOff val="0"/>
                            <a:satOff val="0"/>
                            <a:lumOff val="0"/>
                            <a:alphaOff val="0"/>
                          </a:schemeClr>
                        </a:lnRef>
                        <a:fillRef idx="0">
                          <a:scrgbClr r="0" g="0" b="0"/>
                        </a:fillRef>
                        <a:effectRef idx="0">
                          <a:schemeClr val="accent1">
                            <a:hueOff val="0"/>
                            <a:satOff val="0"/>
                            <a:lumOff val="0"/>
                            <a:alphaOff val="0"/>
                          </a:schemeClr>
                        </a:effectRef>
                        <a:fontRef idx="minor">
                          <a:schemeClr val="tx1">
                            <a:hueOff val="0"/>
                            <a:satOff val="0"/>
                            <a:lumOff val="0"/>
                            <a:alphaOff val="0"/>
                          </a:schemeClr>
                        </a:fontRef>
                      </p:style>
                      <p:txBody>
                        <a:bodyPr/>
                        <a:lstStyle/>
                        <a:p>
                          <a:endParaRPr lang="en-IN"/>
                        </a:p>
                      </p:txBody>
                    </p:sp>
                    <p:sp>
                      <p:nvSpPr>
                        <p:cNvPr id="40" name="Freeform: Shape 39">
                          <a:extLst>
                            <a:ext uri="{FF2B5EF4-FFF2-40B4-BE49-F238E27FC236}">
                              <a16:creationId xmlns:a16="http://schemas.microsoft.com/office/drawing/2014/main" id="{FECB2CCE-4018-99FE-5B34-C94FB73E2230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3785873" y="1301321"/>
                          <a:ext cx="4620252" cy="4620252"/>
                        </a:xfrm>
                        <a:custGeom>
                          <a:avLst/>
                          <a:gdLst/>
                          <a:ahLst/>
                          <a:cxnLst/>
                          <a:rect l="0" t="0" r="0" b="0"/>
                          <a:pathLst>
                            <a:path>
                              <a:moveTo>
                                <a:pt x="385803" y="3588275"/>
                              </a:moveTo>
                              <a:arcTo wR="2310126" hR="2310126" stAng="8784456" swAng="2195114"/>
                            </a:path>
                          </a:pathLst>
                        </a:custGeom>
                        <a:noFill/>
                      </p:spPr>
                      <p:style>
                        <a:lnRef idx="1">
                          <a:schemeClr val="accent1">
                            <a:hueOff val="0"/>
                            <a:satOff val="0"/>
                            <a:lumOff val="0"/>
                            <a:alphaOff val="0"/>
                          </a:schemeClr>
                        </a:lnRef>
                        <a:fillRef idx="0">
                          <a:scrgbClr r="0" g="0" b="0"/>
                        </a:fillRef>
                        <a:effectRef idx="0">
                          <a:schemeClr val="accent1">
                            <a:hueOff val="0"/>
                            <a:satOff val="0"/>
                            <a:lumOff val="0"/>
                            <a:alphaOff val="0"/>
                          </a:schemeClr>
                        </a:effectRef>
                        <a:fontRef idx="minor">
                          <a:schemeClr val="tx1">
                            <a:hueOff val="0"/>
                            <a:satOff val="0"/>
                            <a:lumOff val="0"/>
                            <a:alphaOff val="0"/>
                          </a:schemeClr>
                        </a:fontRef>
                      </p:style>
                      <p:txBody>
                        <a:bodyPr/>
                        <a:lstStyle/>
                        <a:p>
                          <a:endParaRPr lang="en-IN"/>
                        </a:p>
                      </p:txBody>
                    </p:sp>
                    <p:sp>
                      <p:nvSpPr>
                        <p:cNvPr id="42" name="Freeform: Shape 41">
                          <a:extLst>
                            <a:ext uri="{FF2B5EF4-FFF2-40B4-BE49-F238E27FC236}">
                              <a16:creationId xmlns:a16="http://schemas.microsoft.com/office/drawing/2014/main" id="{197C93A2-CB3A-7AE1-FDB9-64B1170AF4FD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3785873" y="1301321"/>
                          <a:ext cx="4620252" cy="4620252"/>
                        </a:xfrm>
                        <a:custGeom>
                          <a:avLst/>
                          <a:gdLst/>
                          <a:ahLst/>
                          <a:cxnLst/>
                          <a:rect l="0" t="0" r="0" b="0"/>
                          <a:pathLst>
                            <a:path>
                              <a:moveTo>
                                <a:pt x="402763" y="1006803"/>
                              </a:moveTo>
                              <a:arcTo wR="2310126" hR="2310126" stAng="12860714" swAng="1959991"/>
                            </a:path>
                          </a:pathLst>
                        </a:custGeom>
                        <a:noFill/>
                      </p:spPr>
                      <p:style>
                        <a:lnRef idx="1">
                          <a:schemeClr val="accent1">
                            <a:hueOff val="0"/>
                            <a:satOff val="0"/>
                            <a:lumOff val="0"/>
                            <a:alphaOff val="0"/>
                          </a:schemeClr>
                        </a:lnRef>
                        <a:fillRef idx="0">
                          <a:scrgbClr r="0" g="0" b="0"/>
                        </a:fillRef>
                        <a:effectRef idx="0">
                          <a:schemeClr val="accent1">
                            <a:hueOff val="0"/>
                            <a:satOff val="0"/>
                            <a:lumOff val="0"/>
                            <a:alphaOff val="0"/>
                          </a:schemeClr>
                        </a:effectRef>
                        <a:fontRef idx="minor">
                          <a:schemeClr val="tx1">
                            <a:hueOff val="0"/>
                            <a:satOff val="0"/>
                            <a:lumOff val="0"/>
                            <a:alphaOff val="0"/>
                          </a:schemeClr>
                        </a:fontRef>
                      </p:style>
                      <p:txBody>
                        <a:bodyPr/>
                        <a:lstStyle/>
                        <a:p>
                          <a:endParaRPr lang="en-IN"/>
                        </a:p>
                      </p:txBody>
                    </p:sp>
                  </p:grpSp>
                  <p:sp>
                    <p:nvSpPr>
                      <p:cNvPr id="45" name="Freeform: Shape 44">
                        <a:extLst>
                          <a:ext uri="{FF2B5EF4-FFF2-40B4-BE49-F238E27FC236}">
                            <a16:creationId xmlns:a16="http://schemas.microsoft.com/office/drawing/2014/main" id="{B69DAAA0-208E-622E-38EF-C7C251AAF688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4939667" y="771699"/>
                        <a:ext cx="2312663" cy="1055871"/>
                      </a:xfrm>
                      <a:custGeom>
                        <a:avLst/>
                        <a:gdLst>
                          <a:gd name="connsiteX0" fmla="*/ 0 w 1624417"/>
                          <a:gd name="connsiteY0" fmla="*/ 175982 h 1055871"/>
                          <a:gd name="connsiteX1" fmla="*/ 175982 w 1624417"/>
                          <a:gd name="connsiteY1" fmla="*/ 0 h 1055871"/>
                          <a:gd name="connsiteX2" fmla="*/ 1448435 w 1624417"/>
                          <a:gd name="connsiteY2" fmla="*/ 0 h 1055871"/>
                          <a:gd name="connsiteX3" fmla="*/ 1624417 w 1624417"/>
                          <a:gd name="connsiteY3" fmla="*/ 175982 h 1055871"/>
                          <a:gd name="connsiteX4" fmla="*/ 1624417 w 1624417"/>
                          <a:gd name="connsiteY4" fmla="*/ 879889 h 1055871"/>
                          <a:gd name="connsiteX5" fmla="*/ 1448435 w 1624417"/>
                          <a:gd name="connsiteY5" fmla="*/ 1055871 h 1055871"/>
                          <a:gd name="connsiteX6" fmla="*/ 175982 w 1624417"/>
                          <a:gd name="connsiteY6" fmla="*/ 1055871 h 1055871"/>
                          <a:gd name="connsiteX7" fmla="*/ 0 w 1624417"/>
                          <a:gd name="connsiteY7" fmla="*/ 879889 h 1055871"/>
                          <a:gd name="connsiteX8" fmla="*/ 0 w 1624417"/>
                          <a:gd name="connsiteY8" fmla="*/ 175982 h 1055871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</a:cxnLst>
                        <a:rect l="l" t="t" r="r" b="b"/>
                        <a:pathLst>
                          <a:path w="1624417" h="1055871">
                            <a:moveTo>
                              <a:pt x="0" y="175982"/>
                            </a:moveTo>
                            <a:cubicBezTo>
                              <a:pt x="0" y="78790"/>
                              <a:pt x="78790" y="0"/>
                              <a:pt x="175982" y="0"/>
                            </a:cubicBezTo>
                            <a:lnTo>
                              <a:pt x="1448435" y="0"/>
                            </a:lnTo>
                            <a:cubicBezTo>
                              <a:pt x="1545627" y="0"/>
                              <a:pt x="1624417" y="78790"/>
                              <a:pt x="1624417" y="175982"/>
                            </a:cubicBezTo>
                            <a:lnTo>
                              <a:pt x="1624417" y="879889"/>
                            </a:lnTo>
                            <a:cubicBezTo>
                              <a:pt x="1624417" y="977081"/>
                              <a:pt x="1545627" y="1055871"/>
                              <a:pt x="1448435" y="1055871"/>
                            </a:cubicBezTo>
                            <a:lnTo>
                              <a:pt x="175982" y="1055871"/>
                            </a:lnTo>
                            <a:cubicBezTo>
                              <a:pt x="78790" y="1055871"/>
                              <a:pt x="0" y="977081"/>
                              <a:pt x="0" y="879889"/>
                            </a:cubicBezTo>
                            <a:lnTo>
                              <a:pt x="0" y="175982"/>
                            </a:lnTo>
                            <a:close/>
                          </a:path>
                        </a:pathLst>
                      </a:custGeom>
                    </p:spPr>
                    <p:style>
                      <a:lnRef idx="2">
                        <a:schemeClr val="lt1">
                          <a:hueOff val="0"/>
                          <a:satOff val="0"/>
                          <a:lumOff val="0"/>
                          <a:alphaOff val="0"/>
                        </a:schemeClr>
                      </a:lnRef>
                      <a:fillRef idx="1">
                        <a:schemeClr val="accent1">
                          <a:hueOff val="0"/>
                          <a:satOff val="0"/>
                          <a:lumOff val="0"/>
                          <a:alphaOff val="0"/>
                        </a:schemeClr>
                      </a:fillRef>
                      <a:effectRef idx="0">
                        <a:schemeClr val="accent1">
                          <a:hueOff val="0"/>
                          <a:satOff val="0"/>
                          <a:lumOff val="0"/>
                          <a:alphaOff val="0"/>
                        </a:schemeClr>
                      </a:effectRef>
                      <a:fontRef idx="minor">
                        <a:schemeClr val="lt1"/>
                      </a:fontRef>
                    </p:style>
                    <p:txBody>
                      <a:bodyPr spcFirstLastPara="0" vert="horz" wrap="square" lIns="203943" tIns="203943" rIns="203943" bIns="203943" numCol="1" spcCol="1270" anchor="ctr" anchorCtr="0">
                        <a:noAutofit/>
                      </a:bodyPr>
                      <a:lstStyle/>
                      <a:p>
                        <a:pPr marL="0" lvl="0" indent="0" algn="ctr" defTabSz="1778000">
                          <a:lnSpc>
                            <a:spcPct val="90000"/>
                          </a:lnSpc>
                          <a:spcBef>
                            <a:spcPct val="0"/>
                          </a:spcBef>
                          <a:spcAft>
                            <a:spcPct val="35000"/>
                          </a:spcAft>
                          <a:buNone/>
                        </a:pPr>
                        <a:r>
                          <a:rPr lang="en-US" sz="1600" b="1" kern="1200" dirty="0">
                            <a:solidFill>
                              <a:schemeClr val="tx1"/>
                            </a:solidFill>
                          </a:rPr>
                          <a:t>High variance low volume production.</a:t>
                        </a:r>
                        <a:endParaRPr lang="en-IN" sz="1600" b="1" kern="1200" dirty="0">
                          <a:solidFill>
                            <a:schemeClr val="tx1"/>
                          </a:solidFill>
                        </a:endParaRPr>
                      </a:p>
                    </p:txBody>
                  </p:sp>
                </p:grpSp>
                <p:sp>
                  <p:nvSpPr>
                    <p:cNvPr id="46" name="Freeform: Shape 45">
                      <a:extLst>
                        <a:ext uri="{FF2B5EF4-FFF2-40B4-BE49-F238E27FC236}">
                          <a16:creationId xmlns:a16="http://schemas.microsoft.com/office/drawing/2014/main" id="{BD4EC14F-C575-08B5-C5E3-49A8741DA420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7521965" y="2304419"/>
                      <a:ext cx="2312663" cy="1156989"/>
                    </a:xfrm>
                    <a:custGeom>
                      <a:avLst/>
                      <a:gdLst>
                        <a:gd name="connsiteX0" fmla="*/ 0 w 1624417"/>
                        <a:gd name="connsiteY0" fmla="*/ 175982 h 1055871"/>
                        <a:gd name="connsiteX1" fmla="*/ 175982 w 1624417"/>
                        <a:gd name="connsiteY1" fmla="*/ 0 h 1055871"/>
                        <a:gd name="connsiteX2" fmla="*/ 1448435 w 1624417"/>
                        <a:gd name="connsiteY2" fmla="*/ 0 h 1055871"/>
                        <a:gd name="connsiteX3" fmla="*/ 1624417 w 1624417"/>
                        <a:gd name="connsiteY3" fmla="*/ 175982 h 1055871"/>
                        <a:gd name="connsiteX4" fmla="*/ 1624417 w 1624417"/>
                        <a:gd name="connsiteY4" fmla="*/ 879889 h 1055871"/>
                        <a:gd name="connsiteX5" fmla="*/ 1448435 w 1624417"/>
                        <a:gd name="connsiteY5" fmla="*/ 1055871 h 1055871"/>
                        <a:gd name="connsiteX6" fmla="*/ 175982 w 1624417"/>
                        <a:gd name="connsiteY6" fmla="*/ 1055871 h 1055871"/>
                        <a:gd name="connsiteX7" fmla="*/ 0 w 1624417"/>
                        <a:gd name="connsiteY7" fmla="*/ 879889 h 1055871"/>
                        <a:gd name="connsiteX8" fmla="*/ 0 w 1624417"/>
                        <a:gd name="connsiteY8" fmla="*/ 175982 h 1055871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1624417" h="1055871">
                          <a:moveTo>
                            <a:pt x="0" y="175982"/>
                          </a:moveTo>
                          <a:cubicBezTo>
                            <a:pt x="0" y="78790"/>
                            <a:pt x="78790" y="0"/>
                            <a:pt x="175982" y="0"/>
                          </a:cubicBezTo>
                          <a:lnTo>
                            <a:pt x="1448435" y="0"/>
                          </a:lnTo>
                          <a:cubicBezTo>
                            <a:pt x="1545627" y="0"/>
                            <a:pt x="1624417" y="78790"/>
                            <a:pt x="1624417" y="175982"/>
                          </a:cubicBezTo>
                          <a:lnTo>
                            <a:pt x="1624417" y="879889"/>
                          </a:lnTo>
                          <a:cubicBezTo>
                            <a:pt x="1624417" y="977081"/>
                            <a:pt x="1545627" y="1055871"/>
                            <a:pt x="1448435" y="1055871"/>
                          </a:cubicBezTo>
                          <a:lnTo>
                            <a:pt x="175982" y="1055871"/>
                          </a:lnTo>
                          <a:cubicBezTo>
                            <a:pt x="78790" y="1055871"/>
                            <a:pt x="0" y="977081"/>
                            <a:pt x="0" y="879889"/>
                          </a:cubicBezTo>
                          <a:lnTo>
                            <a:pt x="0" y="175982"/>
                          </a:lnTo>
                          <a:close/>
                        </a:path>
                      </a:pathLst>
                    </a:custGeom>
                  </p:spPr>
                  <p:style>
                    <a:lnRef idx="2">
                      <a:schemeClr val="lt1">
                        <a:hueOff val="0"/>
                        <a:satOff val="0"/>
                        <a:lumOff val="0"/>
                        <a:alphaOff val="0"/>
                      </a:schemeClr>
                    </a:lnRef>
                    <a:fillRef idx="1">
                      <a:schemeClr val="accent1">
                        <a:hueOff val="0"/>
                        <a:satOff val="0"/>
                        <a:lumOff val="0"/>
                        <a:alphaOff val="0"/>
                      </a:schemeClr>
                    </a:fillRef>
                    <a:effectRef idx="0">
                      <a:schemeClr val="accent1">
                        <a:hueOff val="0"/>
                        <a:satOff val="0"/>
                        <a:lumOff val="0"/>
                        <a:alphaOff val="0"/>
                      </a:schemeClr>
                    </a:effectRef>
                    <a:fontRef idx="minor">
                      <a:schemeClr val="lt1"/>
                    </a:fontRef>
                  </p:style>
                  <p:txBody>
                    <a:bodyPr spcFirstLastPara="0" vert="horz" wrap="square" lIns="203943" tIns="203943" rIns="203943" bIns="203943" numCol="1" spcCol="1270" anchor="ctr" anchorCtr="0">
                      <a:noAutofit/>
                    </a:bodyPr>
                    <a:lstStyle/>
                    <a:p>
                      <a:pPr marL="0" lvl="0" indent="0" algn="ctr" defTabSz="1778000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35000"/>
                        </a:spcAft>
                        <a:buNone/>
                      </a:pPr>
                      <a:r>
                        <a:rPr lang="en-US" sz="1600" b="1" kern="1200" dirty="0">
                          <a:solidFill>
                            <a:schemeClr val="tx1"/>
                          </a:solidFill>
                        </a:rPr>
                        <a:t>Insertion is done manually.</a:t>
                      </a:r>
                      <a:endParaRPr lang="en-IN" sz="1600" b="1" kern="1200" dirty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  <p:sp>
                <p:nvSpPr>
                  <p:cNvPr id="47" name="Freeform: Shape 46">
                    <a:extLst>
                      <a:ext uri="{FF2B5EF4-FFF2-40B4-BE49-F238E27FC236}">
                        <a16:creationId xmlns:a16="http://schemas.microsoft.com/office/drawing/2014/main" id="{0E41E7ED-1759-6055-EE1D-33244D72A10E}"/>
                      </a:ext>
                    </a:extLst>
                  </p:cNvPr>
                  <p:cNvSpPr/>
                  <p:nvPr/>
                </p:nvSpPr>
                <p:spPr>
                  <a:xfrm>
                    <a:off x="6433840" y="4915718"/>
                    <a:ext cx="2312663" cy="1055871"/>
                  </a:xfrm>
                  <a:custGeom>
                    <a:avLst/>
                    <a:gdLst>
                      <a:gd name="connsiteX0" fmla="*/ 0 w 1624417"/>
                      <a:gd name="connsiteY0" fmla="*/ 175982 h 1055871"/>
                      <a:gd name="connsiteX1" fmla="*/ 175982 w 1624417"/>
                      <a:gd name="connsiteY1" fmla="*/ 0 h 1055871"/>
                      <a:gd name="connsiteX2" fmla="*/ 1448435 w 1624417"/>
                      <a:gd name="connsiteY2" fmla="*/ 0 h 1055871"/>
                      <a:gd name="connsiteX3" fmla="*/ 1624417 w 1624417"/>
                      <a:gd name="connsiteY3" fmla="*/ 175982 h 1055871"/>
                      <a:gd name="connsiteX4" fmla="*/ 1624417 w 1624417"/>
                      <a:gd name="connsiteY4" fmla="*/ 879889 h 1055871"/>
                      <a:gd name="connsiteX5" fmla="*/ 1448435 w 1624417"/>
                      <a:gd name="connsiteY5" fmla="*/ 1055871 h 1055871"/>
                      <a:gd name="connsiteX6" fmla="*/ 175982 w 1624417"/>
                      <a:gd name="connsiteY6" fmla="*/ 1055871 h 1055871"/>
                      <a:gd name="connsiteX7" fmla="*/ 0 w 1624417"/>
                      <a:gd name="connsiteY7" fmla="*/ 879889 h 1055871"/>
                      <a:gd name="connsiteX8" fmla="*/ 0 w 1624417"/>
                      <a:gd name="connsiteY8" fmla="*/ 175982 h 105587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1624417" h="1055871">
                        <a:moveTo>
                          <a:pt x="0" y="175982"/>
                        </a:moveTo>
                        <a:cubicBezTo>
                          <a:pt x="0" y="78790"/>
                          <a:pt x="78790" y="0"/>
                          <a:pt x="175982" y="0"/>
                        </a:cubicBezTo>
                        <a:lnTo>
                          <a:pt x="1448435" y="0"/>
                        </a:lnTo>
                        <a:cubicBezTo>
                          <a:pt x="1545627" y="0"/>
                          <a:pt x="1624417" y="78790"/>
                          <a:pt x="1624417" y="175982"/>
                        </a:cubicBezTo>
                        <a:lnTo>
                          <a:pt x="1624417" y="879889"/>
                        </a:lnTo>
                        <a:cubicBezTo>
                          <a:pt x="1624417" y="977081"/>
                          <a:pt x="1545627" y="1055871"/>
                          <a:pt x="1448435" y="1055871"/>
                        </a:cubicBezTo>
                        <a:lnTo>
                          <a:pt x="175982" y="1055871"/>
                        </a:lnTo>
                        <a:cubicBezTo>
                          <a:pt x="78790" y="1055871"/>
                          <a:pt x="0" y="977081"/>
                          <a:pt x="0" y="879889"/>
                        </a:cubicBezTo>
                        <a:lnTo>
                          <a:pt x="0" y="175982"/>
                        </a:lnTo>
                        <a:close/>
                      </a:path>
                    </a:pathLst>
                  </a:custGeom>
                </p:spPr>
                <p:style>
                  <a:lnRef idx="2">
                    <a:schemeClr val="lt1">
                      <a:hueOff val="0"/>
                      <a:satOff val="0"/>
                      <a:lumOff val="0"/>
                      <a:alphaOff val="0"/>
                    </a:schemeClr>
                  </a:lnRef>
                  <a:fillRef idx="1">
                    <a:schemeClr val="accent1">
                      <a:hueOff val="0"/>
                      <a:satOff val="0"/>
                      <a:lumOff val="0"/>
                      <a:alphaOff val="0"/>
                    </a:schemeClr>
                  </a:fillRef>
                  <a:effectRef idx="0">
                    <a:schemeClr val="accent1">
                      <a:hueOff val="0"/>
                      <a:satOff val="0"/>
                      <a:lumOff val="0"/>
                      <a:alphaOff val="0"/>
                    </a:schemeClr>
                  </a:effectRef>
                  <a:fontRef idx="minor">
                    <a:schemeClr val="lt1"/>
                  </a:fontRef>
                </p:style>
                <p:txBody>
                  <a:bodyPr spcFirstLastPara="0" vert="horz" wrap="square" lIns="203943" tIns="203943" rIns="203943" bIns="203943" numCol="1" spcCol="1270" anchor="ctr" anchorCtr="0">
                    <a:noAutofit/>
                  </a:bodyPr>
                  <a:lstStyle/>
                  <a:p>
                    <a:pPr marL="0" lvl="0" indent="0" algn="ctr" defTabSz="1778000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35000"/>
                      </a:spcAft>
                      <a:buNone/>
                    </a:pPr>
                    <a:r>
                      <a:rPr lang="en-US" sz="1600" b="1" kern="1200" dirty="0">
                        <a:solidFill>
                          <a:schemeClr val="tx1"/>
                        </a:solidFill>
                      </a:rPr>
                      <a:t>Use of jigs, cutting/folding machines.</a:t>
                    </a:r>
                    <a:endParaRPr lang="en-IN" sz="1600" b="1" kern="1200" dirty="0">
                      <a:solidFill>
                        <a:schemeClr val="tx1"/>
                      </a:solidFill>
                    </a:endParaRPr>
                  </a:p>
                </p:txBody>
              </p:sp>
            </p:grpSp>
            <p:sp>
              <p:nvSpPr>
                <p:cNvPr id="48" name="Freeform: Shape 47">
                  <a:extLst>
                    <a:ext uri="{FF2B5EF4-FFF2-40B4-BE49-F238E27FC236}">
                      <a16:creationId xmlns:a16="http://schemas.microsoft.com/office/drawing/2014/main" id="{B02775BD-9691-FF17-3991-30AFFC86A700}"/>
                    </a:ext>
                  </a:extLst>
                </p:cNvPr>
                <p:cNvSpPr/>
                <p:nvPr/>
              </p:nvSpPr>
              <p:spPr>
                <a:xfrm>
                  <a:off x="3445498" y="4915718"/>
                  <a:ext cx="2312663" cy="1055871"/>
                </a:xfrm>
                <a:custGeom>
                  <a:avLst/>
                  <a:gdLst>
                    <a:gd name="connsiteX0" fmla="*/ 0 w 1624417"/>
                    <a:gd name="connsiteY0" fmla="*/ 175982 h 1055871"/>
                    <a:gd name="connsiteX1" fmla="*/ 175982 w 1624417"/>
                    <a:gd name="connsiteY1" fmla="*/ 0 h 1055871"/>
                    <a:gd name="connsiteX2" fmla="*/ 1448435 w 1624417"/>
                    <a:gd name="connsiteY2" fmla="*/ 0 h 1055871"/>
                    <a:gd name="connsiteX3" fmla="*/ 1624417 w 1624417"/>
                    <a:gd name="connsiteY3" fmla="*/ 175982 h 1055871"/>
                    <a:gd name="connsiteX4" fmla="*/ 1624417 w 1624417"/>
                    <a:gd name="connsiteY4" fmla="*/ 879889 h 1055871"/>
                    <a:gd name="connsiteX5" fmla="*/ 1448435 w 1624417"/>
                    <a:gd name="connsiteY5" fmla="*/ 1055871 h 1055871"/>
                    <a:gd name="connsiteX6" fmla="*/ 175982 w 1624417"/>
                    <a:gd name="connsiteY6" fmla="*/ 1055871 h 1055871"/>
                    <a:gd name="connsiteX7" fmla="*/ 0 w 1624417"/>
                    <a:gd name="connsiteY7" fmla="*/ 879889 h 1055871"/>
                    <a:gd name="connsiteX8" fmla="*/ 0 w 1624417"/>
                    <a:gd name="connsiteY8" fmla="*/ 175982 h 10558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1624417" h="1055871">
                      <a:moveTo>
                        <a:pt x="0" y="175982"/>
                      </a:moveTo>
                      <a:cubicBezTo>
                        <a:pt x="0" y="78790"/>
                        <a:pt x="78790" y="0"/>
                        <a:pt x="175982" y="0"/>
                      </a:cubicBezTo>
                      <a:lnTo>
                        <a:pt x="1448435" y="0"/>
                      </a:lnTo>
                      <a:cubicBezTo>
                        <a:pt x="1545627" y="0"/>
                        <a:pt x="1624417" y="78790"/>
                        <a:pt x="1624417" y="175982"/>
                      </a:cubicBezTo>
                      <a:lnTo>
                        <a:pt x="1624417" y="879889"/>
                      </a:lnTo>
                      <a:cubicBezTo>
                        <a:pt x="1624417" y="977081"/>
                        <a:pt x="1545627" y="1055871"/>
                        <a:pt x="1448435" y="1055871"/>
                      </a:cubicBezTo>
                      <a:lnTo>
                        <a:pt x="175982" y="1055871"/>
                      </a:lnTo>
                      <a:cubicBezTo>
                        <a:pt x="78790" y="1055871"/>
                        <a:pt x="0" y="977081"/>
                        <a:pt x="0" y="879889"/>
                      </a:cubicBezTo>
                      <a:lnTo>
                        <a:pt x="0" y="175982"/>
                      </a:lnTo>
                      <a:close/>
                    </a:path>
                  </a:pathLst>
                </a:custGeom>
              </p:spPr>
              <p:style>
                <a:lnRef idx="2">
                  <a:schemeClr val="lt1">
                    <a:hueOff val="0"/>
                    <a:satOff val="0"/>
                    <a:lumOff val="0"/>
                    <a:alphaOff val="0"/>
                  </a:schemeClr>
                </a:lnRef>
                <a:fillRef idx="1">
                  <a:schemeClr val="accent1">
                    <a:hueOff val="0"/>
                    <a:satOff val="0"/>
                    <a:lumOff val="0"/>
                    <a:alphaOff val="0"/>
                  </a:schemeClr>
                </a:fillRef>
                <a:effectRef idx="0">
                  <a:schemeClr val="accent1"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lt1"/>
                </a:fontRef>
              </p:style>
              <p:txBody>
                <a:bodyPr spcFirstLastPara="0" vert="horz" wrap="square" lIns="203943" tIns="203943" rIns="203943" bIns="203943" numCol="1" spcCol="1270" anchor="ctr" anchorCtr="0">
                  <a:noAutofit/>
                </a:bodyPr>
                <a:lstStyle/>
                <a:p>
                  <a:pPr marL="0" lvl="0" indent="0" algn="ctr" defTabSz="1778000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35000"/>
                    </a:spcAft>
                    <a:buNone/>
                  </a:pPr>
                  <a:r>
                    <a:rPr lang="en-US" sz="1600" b="1" dirty="0">
                      <a:solidFill>
                        <a:schemeClr val="tx1"/>
                      </a:solidFill>
                    </a:rPr>
                    <a:t>Labor intensive, difficult to scale.</a:t>
                  </a:r>
                  <a:endParaRPr lang="en-IN" sz="1600" b="1" kern="1200" dirty="0">
                    <a:solidFill>
                      <a:schemeClr val="tx1"/>
                    </a:solidFill>
                  </a:endParaRPr>
                </a:p>
              </p:txBody>
            </p:sp>
          </p:grpSp>
          <p:sp>
            <p:nvSpPr>
              <p:cNvPr id="49" name="Freeform: Shape 48">
                <a:extLst>
                  <a:ext uri="{FF2B5EF4-FFF2-40B4-BE49-F238E27FC236}">
                    <a16:creationId xmlns:a16="http://schemas.microsoft.com/office/drawing/2014/main" id="{2A24769D-7979-C0ED-056F-32B6754B4537}"/>
                  </a:ext>
                </a:extLst>
              </p:cNvPr>
              <p:cNvSpPr/>
              <p:nvPr/>
            </p:nvSpPr>
            <p:spPr>
              <a:xfrm>
                <a:off x="2451207" y="2345552"/>
                <a:ext cx="2312663" cy="1055871"/>
              </a:xfrm>
              <a:custGeom>
                <a:avLst/>
                <a:gdLst>
                  <a:gd name="connsiteX0" fmla="*/ 0 w 1624417"/>
                  <a:gd name="connsiteY0" fmla="*/ 175982 h 1055871"/>
                  <a:gd name="connsiteX1" fmla="*/ 175982 w 1624417"/>
                  <a:gd name="connsiteY1" fmla="*/ 0 h 1055871"/>
                  <a:gd name="connsiteX2" fmla="*/ 1448435 w 1624417"/>
                  <a:gd name="connsiteY2" fmla="*/ 0 h 1055871"/>
                  <a:gd name="connsiteX3" fmla="*/ 1624417 w 1624417"/>
                  <a:gd name="connsiteY3" fmla="*/ 175982 h 1055871"/>
                  <a:gd name="connsiteX4" fmla="*/ 1624417 w 1624417"/>
                  <a:gd name="connsiteY4" fmla="*/ 879889 h 1055871"/>
                  <a:gd name="connsiteX5" fmla="*/ 1448435 w 1624417"/>
                  <a:gd name="connsiteY5" fmla="*/ 1055871 h 1055871"/>
                  <a:gd name="connsiteX6" fmla="*/ 175982 w 1624417"/>
                  <a:gd name="connsiteY6" fmla="*/ 1055871 h 1055871"/>
                  <a:gd name="connsiteX7" fmla="*/ 0 w 1624417"/>
                  <a:gd name="connsiteY7" fmla="*/ 879889 h 1055871"/>
                  <a:gd name="connsiteX8" fmla="*/ 0 w 1624417"/>
                  <a:gd name="connsiteY8" fmla="*/ 175982 h 10558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624417" h="1055871">
                    <a:moveTo>
                      <a:pt x="0" y="175982"/>
                    </a:moveTo>
                    <a:cubicBezTo>
                      <a:pt x="0" y="78790"/>
                      <a:pt x="78790" y="0"/>
                      <a:pt x="175982" y="0"/>
                    </a:cubicBezTo>
                    <a:lnTo>
                      <a:pt x="1448435" y="0"/>
                    </a:lnTo>
                    <a:cubicBezTo>
                      <a:pt x="1545627" y="0"/>
                      <a:pt x="1624417" y="78790"/>
                      <a:pt x="1624417" y="175982"/>
                    </a:cubicBezTo>
                    <a:lnTo>
                      <a:pt x="1624417" y="879889"/>
                    </a:lnTo>
                    <a:cubicBezTo>
                      <a:pt x="1624417" y="977081"/>
                      <a:pt x="1545627" y="1055871"/>
                      <a:pt x="1448435" y="1055871"/>
                    </a:cubicBezTo>
                    <a:lnTo>
                      <a:pt x="175982" y="1055871"/>
                    </a:lnTo>
                    <a:cubicBezTo>
                      <a:pt x="78790" y="1055871"/>
                      <a:pt x="0" y="977081"/>
                      <a:pt x="0" y="879889"/>
                    </a:cubicBezTo>
                    <a:lnTo>
                      <a:pt x="0" y="175982"/>
                    </a:lnTo>
                    <a:close/>
                  </a:path>
                </a:pathLst>
              </a:custGeom>
              <a:solidFill>
                <a:srgbClr val="C5DE89"/>
              </a:solidFill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1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  <p:txBody>
              <a:bodyPr spcFirstLastPara="0" vert="horz" wrap="square" lIns="203943" tIns="203943" rIns="203943" bIns="203943" numCol="1" spcCol="1270" anchor="ctr" anchorCtr="0">
                <a:noAutofit/>
              </a:bodyPr>
              <a:lstStyle/>
              <a:p>
                <a:pPr marL="0" lvl="0" indent="0" algn="ctr" defTabSz="177800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  <a:buNone/>
                </a:pPr>
                <a:r>
                  <a:rPr lang="en-US" sz="1600" b="1" dirty="0">
                    <a:solidFill>
                      <a:schemeClr val="tx1"/>
                    </a:solidFill>
                  </a:rPr>
                  <a:t>Flexible, low cost.</a:t>
                </a:r>
                <a:endParaRPr lang="en-IN" sz="1600" b="1" kern="1200" dirty="0">
                  <a:solidFill>
                    <a:schemeClr val="tx1"/>
                  </a:solidFill>
                </a:endParaRPr>
              </a:p>
            </p:txBody>
          </p:sp>
        </p:grpSp>
      </p:grpSp>
      <p:sp>
        <p:nvSpPr>
          <p:cNvPr id="8" name="TextBox 7">
            <a:extLst>
              <a:ext uri="{FF2B5EF4-FFF2-40B4-BE49-F238E27FC236}">
                <a16:creationId xmlns:a16="http://schemas.microsoft.com/office/drawing/2014/main" id="{120D5579-814E-EF36-C0C8-F549DDC0B92D}"/>
              </a:ext>
            </a:extLst>
          </p:cNvPr>
          <p:cNvSpPr txBox="1"/>
          <p:nvPr/>
        </p:nvSpPr>
        <p:spPr>
          <a:xfrm>
            <a:off x="9984432" y="6045306"/>
            <a:ext cx="1662612" cy="25442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buClr>
                <a:srgbClr val="97C139"/>
              </a:buClr>
            </a:pPr>
            <a:r>
              <a:rPr lang="en-US" dirty="0"/>
              <a:t>*AI generated image</a:t>
            </a:r>
            <a:endParaRPr lang="en-IN" dirty="0" err="1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0E77AE3E-0FCC-188A-6FDF-8BF3450A2DB7}"/>
              </a:ext>
            </a:extLst>
          </p:cNvPr>
          <p:cNvSpPr txBox="1"/>
          <p:nvPr/>
        </p:nvSpPr>
        <p:spPr>
          <a:xfrm>
            <a:off x="4787613" y="4670444"/>
            <a:ext cx="2952328" cy="21842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buClr>
                <a:srgbClr val="97C139"/>
              </a:buClr>
            </a:pPr>
            <a:r>
              <a:rPr lang="en-US" dirty="0"/>
              <a:t> </a:t>
            </a:r>
            <a:r>
              <a:rPr lang="en-US" sz="1200" dirty="0"/>
              <a:t>Fig 5. Manual insertion of slot liner</a:t>
            </a:r>
            <a:endParaRPr lang="en-IN" sz="1200" dirty="0" err="1"/>
          </a:p>
        </p:txBody>
      </p:sp>
    </p:spTree>
    <p:extLst>
      <p:ext uri="{BB962C8B-B14F-4D97-AF65-F5344CB8AC3E}">
        <p14:creationId xmlns:p14="http://schemas.microsoft.com/office/powerpoint/2010/main" val="61549341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2FD6601-DFEA-ED66-08B2-E38FEB6BC8C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74AD27AD-BDD0-4C89-AC0C-E73C6A09A427}" type="datetime1">
              <a:rPr lang="de-DE" smtClean="0">
                <a:solidFill>
                  <a:srgbClr val="000000"/>
                </a:solidFill>
              </a:rPr>
              <a:t>12.11.2025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A5DB2330-9822-E442-9355-B2E7A319D9D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FE11F066-C7D3-4B2D-BC7E-EC0D86AF6BBF}" type="slidenum">
              <a:rPr lang="de-DE" smtClean="0">
                <a:solidFill>
                  <a:srgbClr val="000000"/>
                </a:solidFill>
              </a:rPr>
              <a:pPr>
                <a:defRPr/>
              </a:pPr>
              <a:t>9</a:t>
            </a:fld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2EE5D41F-40E2-8A96-A507-3DAC20631C9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troducing a parametric funnel designed to automate the insertion of slot liners efficiently and accurately.</a:t>
            </a:r>
            <a:endParaRPr lang="en-IN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7A9267A-7252-A527-C640-D76EE323CD9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defRPr/>
            </a:pPr>
            <a:r>
              <a:rPr lang="de-DE" dirty="0">
                <a:solidFill>
                  <a:srgbClr val="000000"/>
                </a:solidFill>
              </a:rPr>
              <a:t>Alen Sebastian – Development of a Parametric tool for Automated Slot Insulation Insertion in Small scale Electric Stator Production</a:t>
            </a:r>
          </a:p>
          <a:p>
            <a:pPr>
              <a:defRPr/>
            </a:pPr>
            <a:endParaRPr lang="de-DE" dirty="0">
              <a:solidFill>
                <a:srgbClr val="000000"/>
              </a:solidFill>
            </a:endParaRPr>
          </a:p>
        </p:txBody>
      </p:sp>
      <p:pic>
        <p:nvPicPr>
          <p:cNvPr id="6" name="Picture 5" descr="A machine with a circular object&#10;&#10;AI-generated content may be incorrect.">
            <a:extLst>
              <a:ext uri="{FF2B5EF4-FFF2-40B4-BE49-F238E27FC236}">
                <a16:creationId xmlns:a16="http://schemas.microsoft.com/office/drawing/2014/main" id="{03906EFE-F409-A37B-A97C-1EE642177399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l="-2381" t="-12112" r="2384" b="16527"/>
          <a:stretch>
            <a:fillRect/>
          </a:stretch>
        </p:blipFill>
        <p:spPr>
          <a:xfrm>
            <a:off x="8735615" y="836712"/>
            <a:ext cx="3456384" cy="4499643"/>
          </a:xfrm>
          <a:prstGeom prst="rect">
            <a:avLst/>
          </a:prstGeom>
          <a:noFill/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40BB6E36-4D7D-36E7-11CE-DB9AB5B813A2}"/>
              </a:ext>
            </a:extLst>
          </p:cNvPr>
          <p:cNvSpPr txBox="1"/>
          <p:nvPr/>
        </p:nvSpPr>
        <p:spPr>
          <a:xfrm>
            <a:off x="839788" y="1268760"/>
            <a:ext cx="7128420" cy="367240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buClr>
                <a:srgbClr val="97C139"/>
              </a:buClr>
            </a:pPr>
            <a:r>
              <a:rPr lang="en-US" sz="1600" b="1" dirty="0"/>
              <a:t>Approach:</a:t>
            </a:r>
          </a:p>
          <a:p>
            <a:pPr marL="285750" indent="-285750">
              <a:buClr>
                <a:srgbClr val="97C139"/>
              </a:buClr>
              <a:buFont typeface="Wingdings" panose="05000000000000000000" pitchFamily="2" charset="2"/>
              <a:buChar char="§"/>
            </a:pPr>
            <a:r>
              <a:rPr lang="en-US" sz="1600" dirty="0"/>
              <a:t>Parametric funnel adaptable to different stator configurations</a:t>
            </a:r>
          </a:p>
          <a:p>
            <a:pPr marL="285750" indent="-285750">
              <a:buClr>
                <a:srgbClr val="97C139"/>
              </a:buClr>
              <a:buFont typeface="Wingdings" panose="05000000000000000000" pitchFamily="2" charset="2"/>
              <a:buChar char="§"/>
            </a:pPr>
            <a:r>
              <a:rPr lang="en-US" sz="1600" dirty="0"/>
              <a:t>Three key parameters can be adjusted for varying stator types</a:t>
            </a:r>
          </a:p>
          <a:p>
            <a:pPr marL="285750" indent="-285750">
              <a:buClr>
                <a:srgbClr val="97C139"/>
              </a:buClr>
              <a:buFont typeface="Wingdings" panose="05000000000000000000" pitchFamily="2" charset="2"/>
              <a:buChar char="§"/>
            </a:pPr>
            <a:r>
              <a:rPr lang="en-US" sz="1600" dirty="0"/>
              <a:t>Integration of the funnel with a collaborative robot for complete automation</a:t>
            </a:r>
          </a:p>
          <a:p>
            <a:pPr>
              <a:buClr>
                <a:srgbClr val="97C139"/>
              </a:buClr>
            </a:pPr>
            <a:endParaRPr lang="en-IN" sz="1600" b="1" dirty="0"/>
          </a:p>
          <a:p>
            <a:pPr>
              <a:buClr>
                <a:srgbClr val="97C139"/>
              </a:buClr>
            </a:pPr>
            <a:r>
              <a:rPr lang="en-IN" sz="1600" b="1" dirty="0"/>
              <a:t>Expected benefits:</a:t>
            </a:r>
          </a:p>
          <a:p>
            <a:pPr marL="285750" indent="-285750">
              <a:buClr>
                <a:srgbClr val="97C139"/>
              </a:buClr>
              <a:buFont typeface="Wingdings" panose="05000000000000000000" pitchFamily="2" charset="2"/>
              <a:buChar char="§"/>
            </a:pPr>
            <a:r>
              <a:rPr lang="en-IN" sz="1600" dirty="0"/>
              <a:t>Increased precision and reliability</a:t>
            </a:r>
          </a:p>
          <a:p>
            <a:pPr marL="285750" indent="-285750">
              <a:buClr>
                <a:srgbClr val="97C139"/>
              </a:buClr>
              <a:buFont typeface="Wingdings" panose="05000000000000000000" pitchFamily="2" charset="2"/>
              <a:buChar char="§"/>
            </a:pPr>
            <a:r>
              <a:rPr lang="en-IN" sz="1600" dirty="0"/>
              <a:t>Reduced labour intensity</a:t>
            </a:r>
          </a:p>
          <a:p>
            <a:pPr marL="285750" indent="-285750">
              <a:buClr>
                <a:srgbClr val="97C139"/>
              </a:buClr>
              <a:buFont typeface="Wingdings" panose="05000000000000000000" pitchFamily="2" charset="2"/>
              <a:buChar char="§"/>
            </a:pPr>
            <a:r>
              <a:rPr lang="en-US" sz="1600" dirty="0"/>
              <a:t>Flexibility for small-batch, high-variance manufacturing</a:t>
            </a:r>
          </a:p>
          <a:p>
            <a:pPr>
              <a:buClr>
                <a:srgbClr val="97C139"/>
              </a:buClr>
            </a:pPr>
            <a:endParaRPr lang="en-IN" dirty="0"/>
          </a:p>
          <a:p>
            <a:pPr marL="285750" indent="-285750">
              <a:buClr>
                <a:srgbClr val="97C139"/>
              </a:buClr>
              <a:buFont typeface="Wingdings" panose="05000000000000000000" pitchFamily="2" charset="2"/>
              <a:buChar char="§"/>
            </a:pPr>
            <a:endParaRPr lang="en-IN" dirty="0"/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09317EEF-597C-1A6A-6462-D7A4D18A986A}"/>
              </a:ext>
            </a:extLst>
          </p:cNvPr>
          <p:cNvGrpSpPr/>
          <p:nvPr/>
        </p:nvGrpSpPr>
        <p:grpSpPr>
          <a:xfrm>
            <a:off x="10367491" y="4581128"/>
            <a:ext cx="360040" cy="864096"/>
            <a:chOff x="10344472" y="4509120"/>
            <a:chExt cx="360040" cy="864096"/>
          </a:xfrm>
        </p:grpSpPr>
        <p:cxnSp>
          <p:nvCxnSpPr>
            <p:cNvPr id="9" name="Straight Arrow Connector 8">
              <a:extLst>
                <a:ext uri="{FF2B5EF4-FFF2-40B4-BE49-F238E27FC236}">
                  <a16:creationId xmlns:a16="http://schemas.microsoft.com/office/drawing/2014/main" id="{FB643214-E8C9-A74D-6615-625E0892525E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10344472" y="4509120"/>
              <a:ext cx="119335" cy="864096"/>
            </a:xfrm>
            <a:prstGeom prst="straightConnector1">
              <a:avLst/>
            </a:prstGeom>
            <a:ln>
              <a:solidFill>
                <a:schemeClr val="tx1">
                  <a:lumMod val="95000"/>
                  <a:lumOff val="5000"/>
                </a:schemeClr>
              </a:solidFill>
              <a:tailEnd type="triangle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451FF209-A17E-00ED-DB00-D0E3DFF78EE8}"/>
                </a:ext>
              </a:extLst>
            </p:cNvPr>
            <p:cNvCxnSpPr>
              <a:cxnSpLocks/>
            </p:cNvCxnSpPr>
            <p:nvPr/>
          </p:nvCxnSpPr>
          <p:spPr>
            <a:xfrm>
              <a:off x="10463807" y="5360823"/>
              <a:ext cx="240705" cy="0"/>
            </a:xfrm>
            <a:prstGeom prst="line">
              <a:avLst/>
            </a:prstGeom>
            <a:ln/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sp>
        <p:nvSpPr>
          <p:cNvPr id="16" name="TextBox 15">
            <a:extLst>
              <a:ext uri="{FF2B5EF4-FFF2-40B4-BE49-F238E27FC236}">
                <a16:creationId xmlns:a16="http://schemas.microsoft.com/office/drawing/2014/main" id="{44F48532-64B3-27A7-6EC6-D5846B17AE03}"/>
              </a:ext>
            </a:extLst>
          </p:cNvPr>
          <p:cNvSpPr txBox="1"/>
          <p:nvPr/>
        </p:nvSpPr>
        <p:spPr>
          <a:xfrm>
            <a:off x="10800829" y="5282784"/>
            <a:ext cx="1391171" cy="32487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buClr>
                <a:srgbClr val="97C139"/>
              </a:buClr>
            </a:pPr>
            <a:r>
              <a:rPr lang="en-US" dirty="0"/>
              <a:t>Parametric Funnel</a:t>
            </a:r>
            <a:endParaRPr lang="en-IN" dirty="0" err="1"/>
          </a:p>
        </p:txBody>
      </p:sp>
      <p:cxnSp>
        <p:nvCxnSpPr>
          <p:cNvPr id="13" name="Straight Arrow Connector 12">
            <a:extLst>
              <a:ext uri="{FF2B5EF4-FFF2-40B4-BE49-F238E27FC236}">
                <a16:creationId xmlns:a16="http://schemas.microsoft.com/office/drawing/2014/main" id="{ABDC27DE-CC2D-FF83-E96A-E9944B9D713A}"/>
              </a:ext>
            </a:extLst>
          </p:cNvPr>
          <p:cNvCxnSpPr>
            <a:cxnSpLocks/>
          </p:cNvCxnSpPr>
          <p:nvPr/>
        </p:nvCxnSpPr>
        <p:spPr>
          <a:xfrm flipH="1">
            <a:off x="8734697" y="4005064"/>
            <a:ext cx="1008112" cy="0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Box 20">
            <a:extLst>
              <a:ext uri="{FF2B5EF4-FFF2-40B4-BE49-F238E27FC236}">
                <a16:creationId xmlns:a16="http://schemas.microsoft.com/office/drawing/2014/main" id="{C4024796-3150-AF7C-A45E-5DABC3FCDEE1}"/>
              </a:ext>
            </a:extLst>
          </p:cNvPr>
          <p:cNvSpPr txBox="1"/>
          <p:nvPr/>
        </p:nvSpPr>
        <p:spPr>
          <a:xfrm>
            <a:off x="7968208" y="3897052"/>
            <a:ext cx="1414561" cy="21602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buClr>
                <a:srgbClr val="97C139"/>
              </a:buClr>
            </a:pPr>
            <a:r>
              <a:rPr lang="en-US" dirty="0"/>
              <a:t>Slot Liner</a:t>
            </a:r>
            <a:endParaRPr lang="en-IN" dirty="0" err="1"/>
          </a:p>
        </p:txBody>
      </p:sp>
    </p:spTree>
    <p:extLst>
      <p:ext uri="{BB962C8B-B14F-4D97-AF65-F5344CB8AC3E}">
        <p14:creationId xmlns:p14="http://schemas.microsoft.com/office/powerpoint/2010/main" val="381203096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08272c5f-d4c3-4ba8-b142-2c71cf223724"/>
</p:tagLst>
</file>

<file path=ppt/theme/theme1.xml><?xml version="1.0" encoding="utf-8"?>
<a:theme xmlns:a="http://schemas.openxmlformats.org/drawingml/2006/main" name="FAPS PPT2022">
  <a:themeElements>
    <a:clrScheme name="FAPS Color 2022">
      <a:dk1>
        <a:srgbClr val="000000"/>
      </a:dk1>
      <a:lt1>
        <a:srgbClr val="FFFFFF"/>
      </a:lt1>
      <a:dk2>
        <a:srgbClr val="6A8A22"/>
      </a:dk2>
      <a:lt2>
        <a:srgbClr val="97C139"/>
      </a:lt2>
      <a:accent1>
        <a:srgbClr val="C5DE89"/>
      </a:accent1>
      <a:accent2>
        <a:srgbClr val="61C086"/>
      </a:accent2>
      <a:accent3>
        <a:srgbClr val="779FB5"/>
      </a:accent3>
      <a:accent4>
        <a:srgbClr val="6C8CC7"/>
      </a:accent4>
      <a:accent5>
        <a:srgbClr val="95A2AB"/>
      </a:accent5>
      <a:accent6>
        <a:srgbClr val="D1D9DE"/>
      </a:accent6>
      <a:hlink>
        <a:srgbClr val="97C139"/>
      </a:hlink>
      <a:folHlink>
        <a:srgbClr val="6A8A22"/>
      </a:folHlink>
    </a:clrScheme>
    <a:fontScheme name="FAPS fonts 2018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C5DE89"/>
        </a:solidFill>
        <a:ln>
          <a:noFill/>
        </a:ln>
      </a:spPr>
      <a:bodyPr rot="0" spcFirstLastPara="0" vertOverflow="overflow" horzOverflow="overflow" vert="horz" wrap="square" lIns="90000" tIns="46800" rIns="90000" bIns="4680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600"/>
          </a:spcBef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>
          <a:solidFill>
            <a:srgbClr val="95A2AB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buClr>
            <a:srgbClr val="97C139"/>
          </a:buClr>
          <a:defRPr dirty="0" err="1" smtClean="0"/>
        </a:defPPr>
      </a:lstStyle>
    </a:txDef>
  </a:objectDefaults>
  <a:extraClrSchemeLst/>
  <a:custClrLst>
    <a:custClr name="Hausfarbe FAPS-Grün">
      <a:srgbClr val="97C139"/>
    </a:custClr>
    <a:custClr name="Hausfarbe Grün">
      <a:srgbClr val="658D67"/>
    </a:custClr>
    <a:custClr name="Hausfarbe Türkis">
      <a:srgbClr val="34677D"/>
    </a:custClr>
    <a:custClr name="FAU-Blau">
      <a:srgbClr val="04316A"/>
    </a:custClr>
    <a:custClr name="Leer">
      <a:srgbClr val="FFFFFF"/>
    </a:custClr>
    <a:custClr name="Leer">
      <a:srgbClr val="FFFFFF"/>
    </a:custClr>
    <a:custClr name="Leer">
      <a:srgbClr val="FFFFFF"/>
    </a:custClr>
    <a:custClr name="Gelb">
      <a:srgbClr val="FFCB00"/>
    </a:custClr>
    <a:custClr name="Orange">
      <a:srgbClr val="F5821F"/>
    </a:custClr>
    <a:custClr name="Rot">
      <a:srgbClr val="DC1E26"/>
    </a:custClr>
    <a:custClr name="FAPS-Grün dunkel">
      <a:srgbClr val="6A8A22"/>
    </a:custClr>
    <a:custClr name="Grün dunkel">
      <a:srgbClr val="3F5F44"/>
    </a:custClr>
    <a:custClr name="Türkis dunkel">
      <a:srgbClr val="004359"/>
    </a:custClr>
    <a:custClr name="FAU-Blau dunkel">
      <a:srgbClr val="041E42"/>
    </a:custClr>
    <a:custClr name="Leer">
      <a:srgbClr val="FFFFFF"/>
    </a:custClr>
    <a:custClr name="Leer">
      <a:srgbClr val="FFFFFF"/>
    </a:custClr>
    <a:custClr name="Leer">
      <a:srgbClr val="FFFFFF"/>
    </a:custClr>
    <a:custClr name="Grau 1">
      <a:srgbClr val="95A2AB"/>
    </a:custClr>
    <a:custClr name="Grau 2">
      <a:srgbClr val="B0BCC4"/>
    </a:custClr>
    <a:custClr name="Grau 3">
      <a:srgbClr val="D1D9DE"/>
    </a:custClr>
    <a:custClr name="FAPS-Grün hell">
      <a:srgbClr val="C5DE89"/>
    </a:custClr>
    <a:custClr name="Grün hell">
      <a:srgbClr val="61C086"/>
    </a:custClr>
    <a:custClr name="TF Metallic">
      <a:srgbClr val="779FB5"/>
    </a:custClr>
    <a:custClr name="FAU-Blau hell">
      <a:srgbClr val="6C8CC7"/>
    </a:custClr>
    <a:custClr name="Leer">
      <a:srgbClr val="FFFFFF"/>
    </a:custClr>
    <a:custClr name="Leer">
      <a:srgbClr val="FFFFFF"/>
    </a:custClr>
    <a:custClr name="Leer">
      <a:srgbClr val="FFFFFF"/>
    </a:custClr>
    <a:custClr name="Leer">
      <a:srgbClr val="FFFFFF"/>
    </a:custClr>
    <a:custClr name="Leer">
      <a:srgbClr val="FFFFFF"/>
    </a:custClr>
    <a:custClr name="Leer">
      <a:srgbClr val="FFFFFF"/>
    </a:custClr>
  </a:custClrLst>
  <a:extLst>
    <a:ext uri="{05A4C25C-085E-4340-85A3-A5531E510DB2}">
      <thm15:themeFamily xmlns:thm15="http://schemas.microsoft.com/office/thememl/2012/main" name="blank.potx" id="{720754B2-DF66-42F2-959A-BA51D9482042}" vid="{8800025A-0D59-4170-BD1C-8F5B36C530E0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1806</TotalTime>
  <Words>2193</Words>
  <Application>Microsoft Office PowerPoint</Application>
  <PresentationFormat>Widescreen</PresentationFormat>
  <Paragraphs>221</Paragraphs>
  <Slides>21</Slides>
  <Notes>13</Notes>
  <HiddenSlides>1</HiddenSlides>
  <MMClips>0</MMClips>
  <ScaleCrop>false</ScaleCrop>
  <HeadingPairs>
    <vt:vector size="6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21</vt:i4>
      </vt:variant>
    </vt:vector>
  </HeadingPairs>
  <TitlesOfParts>
    <vt:vector size="26" baseType="lpstr">
      <vt:lpstr>Arial</vt:lpstr>
      <vt:lpstr>Calibri</vt:lpstr>
      <vt:lpstr>Symbol</vt:lpstr>
      <vt:lpstr>Wingdings</vt:lpstr>
      <vt:lpstr>FAPS PPT2022</vt:lpstr>
      <vt:lpstr>PowerPoint Presentation</vt:lpstr>
      <vt:lpstr>Development of a Parametric Tool for Automated  Slot Insulation Insertion in Small-Scale Electric- Motor Stator Production </vt:lpstr>
      <vt:lpstr>Climate change and CO₂ emissions drive the need for sustainable mobility, leading to a rapid  rise in electric vehicle demand.</vt:lpstr>
      <vt:lpstr>Objective: To Develop a flexible insertion tool to automate slot-liner insertion in small-scale stator manufacturing</vt:lpstr>
      <vt:lpstr>Producing a stator requires a sequence of precise manufacturing steps, ensuring structural integrity, insulation, and electrical reliability.</vt:lpstr>
      <vt:lpstr>In stator production, slot liners are essential components that ensure proper insulation of the windings and protect against mechanical wear during operation.</vt:lpstr>
      <vt:lpstr>How slot liners are inserted in large scale manufacture such as in the automotive industry:</vt:lpstr>
      <vt:lpstr>How slot liners are inserted in small scale manufacture such as in aviation or naval industries:</vt:lpstr>
      <vt:lpstr>Introducing a parametric funnel designed to automate the insertion of slot liners efficiently and accurately.</vt:lpstr>
      <vt:lpstr>Robotic Module for Automated Insertion: UR10e Collaborative Robot, RG2 Gripper, and Force/Torque Sensor</vt:lpstr>
      <vt:lpstr>Mechanical fixtures were designed to ensure precise and reliable positioning of the stator, slot liner, and funnel throughout the assembly process.</vt:lpstr>
      <vt:lpstr>Three key parameters for the parametric funnel were chosen to allow adaptation to different stator geometries.</vt:lpstr>
      <vt:lpstr>The funnel design incorporates several key features and design considerations aimed at ensuring optimal alignment, stability, and compatibility with stators of varying geometries.</vt:lpstr>
      <vt:lpstr>Automation Process of Slot Liner Insertion with the Proposed Parametric Funnel:</vt:lpstr>
      <vt:lpstr>Funnel validation through evaluation using stators of varying geometries, designated as Stator A, Stator B, and Stator C</vt:lpstr>
      <vt:lpstr>Performance evaluation based on the success rates obtained from the validation of all three stator geometries.</vt:lpstr>
      <vt:lpstr>Error analysis and corresponding mitigation measures derived from preliminary trials conducted on the three stator geometries.</vt:lpstr>
      <vt:lpstr>The results provide valuable insights and highlight areas where further improvements can be made to enhance the process and make it more relevant to industry applications.</vt:lpstr>
      <vt:lpstr>References</vt:lpstr>
      <vt:lpstr>PowerPoint Presentation</vt:lpstr>
      <vt:lpstr>PowerPoint Presentation</vt:lpstr>
    </vt:vector>
  </TitlesOfParts>
  <Manager>Simon.Froehlig@faps.fau.de;michael.masuch@faps.fau.de</Manager>
  <Company>FAPS / E|Drive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subject>E|Drive</dc:subject>
  <dc:creator>Henrich, Valentin</dc:creator>
  <cp:lastModifiedBy>Sebastian, Alen</cp:lastModifiedBy>
  <cp:revision>58</cp:revision>
  <dcterms:created xsi:type="dcterms:W3CDTF">2025-04-15T08:38:21Z</dcterms:created>
  <dcterms:modified xsi:type="dcterms:W3CDTF">2025-11-12T10:36:09Z</dcterms:modified>
</cp:coreProperties>
</file>